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83" r:id="rId4"/>
  </p:sldMasterIdLst>
  <p:notesMasterIdLst>
    <p:notesMasterId r:id="rId6"/>
  </p:notesMasterIdLst>
  <p:handoutMasterIdLst>
    <p:handoutMasterId r:id="rId7"/>
  </p:handoutMasterIdLst>
  <p:sldIdLst>
    <p:sldId id="710" r:id="rId5"/>
  </p:sldIdLst>
  <p:sldSz cx="9144000" cy="5143500" type="screen16x9"/>
  <p:notesSz cx="6805613" cy="99441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itch" id="{7867B8FF-6AB7-CE41-90BB-D5C6C148A4D3}">
          <p14:sldIdLst>
            <p14:sldId id="71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3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5D00"/>
    <a:srgbClr val="002060"/>
    <a:srgbClr val="D12873"/>
    <a:srgbClr val="FFFFFF"/>
    <a:srgbClr val="0BFF00"/>
    <a:srgbClr val="6BAA6B"/>
    <a:srgbClr val="09FF00"/>
    <a:srgbClr val="56FF55"/>
    <a:srgbClr val="00FF00"/>
    <a:srgbClr val="E181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04" autoAdjust="0"/>
    <p:restoredTop sz="84340" autoAdjust="0"/>
  </p:normalViewPr>
  <p:slideViewPr>
    <p:cSldViewPr showGuides="1">
      <p:cViewPr varScale="1">
        <p:scale>
          <a:sx n="120" d="100"/>
          <a:sy n="120" d="100"/>
        </p:scale>
        <p:origin x="105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-896"/>
    </p:cViewPr>
  </p:sorterViewPr>
  <p:notesViewPr>
    <p:cSldViewPr showGuides="1">
      <p:cViewPr varScale="1">
        <p:scale>
          <a:sx n="56" d="100"/>
          <a:sy n="56" d="100"/>
        </p:scale>
        <p:origin x="3288" y="34"/>
      </p:cViewPr>
      <p:guideLst>
        <p:guide orient="horz" pos="3132"/>
        <p:guide pos="2144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615" cy="496525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452" y="0"/>
            <a:ext cx="2949615" cy="496525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A91F3830-4213-4B9A-91A3-B08E8DDCB05A}" type="datetimeFigureOut">
              <a:rPr lang="en-US" smtClean="0"/>
              <a:t>7/25/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45875"/>
            <a:ext cx="2949615" cy="496525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452" y="9445875"/>
            <a:ext cx="2949615" cy="496525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C7BC9532-BDF2-4427-9F1A-735C5E8E38B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8124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615" cy="496525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452" y="0"/>
            <a:ext cx="2949615" cy="496525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30CA3642-0488-4ABC-8C4C-654590A97A46}" type="datetimeFigureOut">
              <a:rPr lang="en-US" smtClean="0"/>
              <a:t>7/25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6125"/>
            <a:ext cx="662781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numCol="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3788"/>
            <a:ext cx="5444490" cy="4473825"/>
          </a:xfrm>
          <a:prstGeom prst="rect">
            <a:avLst/>
          </a:prstGeom>
        </p:spPr>
        <p:txBody>
          <a:bodyPr vert="horz" lIns="91440" tIns="45720" rIns="91440" bIns="45720" numCol="1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45875"/>
            <a:ext cx="2949615" cy="496525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452" y="9445875"/>
            <a:ext cx="2949615" cy="496525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0C4573DD-ABEC-409A-8FDD-B681077E60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7173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dirty="0">
                <a:latin typeface="Avenir Book" panose="02000503020000020003" pitchFamily="2" charset="0"/>
              </a:rPr>
              <a:t>1. </a:t>
            </a:r>
            <a:r>
              <a:rPr lang="en-GB" sz="1200" dirty="0" err="1">
                <a:latin typeface="Avenir Book" panose="02000503020000020003" pitchFamily="2" charset="0"/>
              </a:rPr>
              <a:t>Flori</a:t>
            </a:r>
            <a:r>
              <a:rPr lang="en-GB" sz="1200" dirty="0">
                <a:latin typeface="Avenir Book" panose="02000503020000020003" pitchFamily="2" charset="0"/>
              </a:rPr>
              <a:t>, A., Regoli, D. (2021). Pairs-Trading Strategies with Recurrent Neural Networks Market Predictions. In: </a:t>
            </a:r>
            <a:r>
              <a:rPr lang="en-GB" sz="1200" dirty="0" err="1">
                <a:latin typeface="Avenir Book" panose="02000503020000020003" pitchFamily="2" charset="0"/>
              </a:rPr>
              <a:t>Corazza</a:t>
            </a:r>
            <a:r>
              <a:rPr lang="en-GB" sz="1200" dirty="0">
                <a:latin typeface="Avenir Book" panose="02000503020000020003" pitchFamily="2" charset="0"/>
              </a:rPr>
              <a:t>, M., </a:t>
            </a:r>
            <a:r>
              <a:rPr lang="en-GB" sz="1200" dirty="0" err="1">
                <a:latin typeface="Avenir Book" panose="02000503020000020003" pitchFamily="2" charset="0"/>
              </a:rPr>
              <a:t>Gilli</a:t>
            </a:r>
            <a:r>
              <a:rPr lang="en-GB" sz="1200" dirty="0">
                <a:latin typeface="Avenir Book" panose="02000503020000020003" pitchFamily="2" charset="0"/>
              </a:rPr>
              <a:t>, M., </a:t>
            </a:r>
            <a:r>
              <a:rPr lang="en-GB" sz="1200" dirty="0" err="1">
                <a:latin typeface="Avenir Book" panose="02000503020000020003" pitchFamily="2" charset="0"/>
              </a:rPr>
              <a:t>Perna</a:t>
            </a:r>
            <a:r>
              <a:rPr lang="en-GB" sz="1200" dirty="0">
                <a:latin typeface="Avenir Book" panose="02000503020000020003" pitchFamily="2" charset="0"/>
              </a:rPr>
              <a:t>, C., </a:t>
            </a:r>
            <a:r>
              <a:rPr lang="en-GB" sz="1200" dirty="0" err="1">
                <a:latin typeface="Avenir Book" panose="02000503020000020003" pitchFamily="2" charset="0"/>
              </a:rPr>
              <a:t>Pizzi</a:t>
            </a:r>
            <a:r>
              <a:rPr lang="en-GB" sz="1200" dirty="0">
                <a:latin typeface="Avenir Book" panose="02000503020000020003" pitchFamily="2" charset="0"/>
              </a:rPr>
              <a:t>, C., </a:t>
            </a:r>
            <a:r>
              <a:rPr lang="en-GB" sz="1200" dirty="0" err="1">
                <a:latin typeface="Avenir Book" panose="02000503020000020003" pitchFamily="2" charset="0"/>
              </a:rPr>
              <a:t>Sibillo</a:t>
            </a:r>
            <a:r>
              <a:rPr lang="en-GB" sz="1200" dirty="0">
                <a:latin typeface="Avenir Book" panose="02000503020000020003" pitchFamily="2" charset="0"/>
              </a:rPr>
              <a:t>, M. (eds) Mathematical and Statistical Methods for Actuarial Sciences and Finance. Springer, Cham. </a:t>
            </a:r>
            <a:r>
              <a:rPr lang="en-GB" sz="1200" dirty="0" err="1">
                <a:latin typeface="Avenir Book" panose="02000503020000020003" pitchFamily="2" charset="0"/>
              </a:rPr>
              <a:t>doi.org</a:t>
            </a:r>
            <a:r>
              <a:rPr lang="en-GB" sz="1200" dirty="0">
                <a:latin typeface="Avenir Book" panose="02000503020000020003" pitchFamily="2" charset="0"/>
              </a:rPr>
              <a:t>/10.1007/978-3-030-78965-7_32</a:t>
            </a:r>
          </a:p>
          <a:p>
            <a:endParaRPr lang="en-GB" sz="1200" dirty="0">
              <a:latin typeface="Avenir Book" panose="02000503020000020003" pitchFamily="2" charset="0"/>
            </a:endParaRPr>
          </a:p>
          <a:p>
            <a:r>
              <a:rPr lang="en-GB" sz="1200" dirty="0">
                <a:latin typeface="Avenir Book" panose="02000503020000020003" pitchFamily="2" charset="0"/>
              </a:rPr>
              <a:t>2. Brim, Andrew, "Deep Reinforcement Learning Pairs Trading" (2019). All Graduate Plan B and other Reports. 1425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4573DD-ABEC-409A-8FDD-B681077E6084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555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8867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2" progId="TCLayout.ActiveDocument.1">
                  <p:embed/>
                </p:oleObj>
              </mc:Choice>
              <mc:Fallback>
                <p:oleObj name="think-cell Slide" r:id="rId3" imgW="413" imgH="412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9562" y="530351"/>
            <a:ext cx="8521200" cy="309600"/>
          </a:xfrm>
        </p:spPr>
        <p:txBody>
          <a:bodyPr numCol="1"/>
          <a:lstStyle>
            <a:lvl1pPr>
              <a:defRPr>
                <a:latin typeface="Avenir Book" panose="02000503020000020003" pitchFamily="2" charset="0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9561" y="1245599"/>
            <a:ext cx="8521200" cy="3391200"/>
          </a:xfrm>
        </p:spPr>
        <p:txBody>
          <a:bodyPr numCol="1"/>
          <a:lstStyle>
            <a:lvl1pPr>
              <a:lnSpc>
                <a:spcPct val="100000"/>
              </a:lnSpc>
              <a:defRPr sz="1800">
                <a:latin typeface="Avenir Book" panose="02000503020000020003" pitchFamily="2" charset="0"/>
              </a:defRPr>
            </a:lvl1pPr>
            <a:lvl2pPr>
              <a:defRPr>
                <a:latin typeface="Avenir Book" panose="02000503020000020003" pitchFamily="2" charset="0"/>
              </a:defRPr>
            </a:lvl2pPr>
            <a:lvl3pPr>
              <a:defRPr>
                <a:latin typeface="Avenir Book" panose="02000503020000020003" pitchFamily="2" charset="0"/>
              </a:defRPr>
            </a:lvl3pPr>
            <a:lvl4pPr>
              <a:defRPr>
                <a:latin typeface="Avenir Book" panose="02000503020000020003" pitchFamily="2" charset="0"/>
              </a:defRPr>
            </a:lvl4pPr>
            <a:lvl5pPr>
              <a:defRPr>
                <a:latin typeface="Avenir Book" panose="02000503020000020003" pitchFamily="2" charset="0"/>
              </a:defRPr>
            </a:lvl5pPr>
          </a:lstStyle>
          <a:p>
            <a:pPr lvl="0"/>
            <a:r>
              <a:rPr lang="en-US" dirty="0"/>
              <a:t>Text </a:t>
            </a:r>
            <a:r>
              <a:rPr lang="en-US" dirty="0" err="1"/>
              <a:t>einfüg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reeform 5"/>
          <p:cNvSpPr>
            <a:spLocks/>
          </p:cNvSpPr>
          <p:nvPr userDrawn="1"/>
        </p:nvSpPr>
        <p:spPr>
          <a:xfrm>
            <a:off x="-3347" y="1004580"/>
            <a:ext cx="9141568" cy="98425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solidFill>
            <a:schemeClr val="bg1"/>
          </a:solidFill>
          <a:ln w="9525" cap="rnd">
            <a:solidFill>
              <a:srgbClr val="0070C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venir Book" panose="02000503020000020003" pitchFamily="2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97163" y="4785396"/>
            <a:ext cx="2133600" cy="92333"/>
          </a:xfrm>
          <a:prstGeom prst="rect">
            <a:avLst/>
          </a:prstGeom>
        </p:spPr>
        <p:txBody>
          <a:bodyPr vert="horz" wrap="square" lIns="0" tIns="0" rIns="0" bIns="0" numCol="1" rtlCol="0" anchor="t" anchorCtr="0">
            <a:spAutoFit/>
          </a:bodyPr>
          <a:lstStyle>
            <a:lvl1pPr algn="r">
              <a:defRPr sz="600">
                <a:solidFill>
                  <a:schemeClr val="tx1">
                    <a:lumMod val="65000"/>
                    <a:lumOff val="35000"/>
                  </a:schemeClr>
                </a:solidFill>
                <a:latin typeface="Avenir Book" panose="02000503020000020003" pitchFamily="2" charset="0"/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49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503764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3" imgH="412" progId="TCLayout.ActiveDocument.1">
                  <p:embed/>
                </p:oleObj>
              </mc:Choice>
              <mc:Fallback>
                <p:oleObj name="think-cell Slide" r:id="rId4" imgW="413" imgH="412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9563" y="530352"/>
            <a:ext cx="8521200" cy="307777"/>
          </a:xfrm>
          <a:prstGeom prst="rect">
            <a:avLst/>
          </a:prstGeom>
          <a:noFill/>
        </p:spPr>
        <p:txBody>
          <a:bodyPr vert="horz" wrap="square" lIns="0" tIns="0" rIns="0" bIns="0" numCol="1" rtlCol="0" anchor="b" anchorCtr="0">
            <a:noAutofit/>
          </a:bodyPr>
          <a:lstStyle/>
          <a:p>
            <a:r>
              <a:rPr lang="en-US" dirty="0"/>
              <a:t>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9600" y="1244184"/>
            <a:ext cx="8521200" cy="3392818"/>
          </a:xfrm>
          <a:prstGeom prst="rect">
            <a:avLst/>
          </a:prstGeom>
          <a:noFill/>
        </p:spPr>
        <p:txBody>
          <a:bodyPr vert="horz" wrap="square" lIns="0" tIns="0" rIns="0" bIns="0" numCol="1" rtlCol="0">
            <a:noAutofit/>
          </a:bodyPr>
          <a:lstStyle/>
          <a:p>
            <a:pPr lvl="0"/>
            <a:r>
              <a:rPr lang="en-US" dirty="0"/>
              <a:t>Text</a:t>
            </a:r>
          </a:p>
          <a:p>
            <a:pPr lvl="1"/>
            <a:r>
              <a:rPr lang="en-US" dirty="0" err="1"/>
              <a:t>zweiter</a:t>
            </a:r>
            <a:r>
              <a:rPr lang="en-US" dirty="0"/>
              <a:t> </a:t>
            </a:r>
            <a:r>
              <a:rPr lang="en-US" dirty="0" err="1"/>
              <a:t>Punkt</a:t>
            </a:r>
            <a:endParaRPr lang="en-US" dirty="0"/>
          </a:p>
          <a:p>
            <a:pPr lvl="2"/>
            <a:r>
              <a:rPr lang="en-US" dirty="0" err="1"/>
              <a:t>dritter</a:t>
            </a:r>
            <a:r>
              <a:rPr lang="en-US" dirty="0"/>
              <a:t> </a:t>
            </a:r>
            <a:r>
              <a:rPr lang="en-US" dirty="0" err="1"/>
              <a:t>Punkt</a:t>
            </a:r>
            <a:endParaRPr lang="en-US" dirty="0"/>
          </a:p>
          <a:p>
            <a:pPr lvl="3"/>
            <a:r>
              <a:rPr lang="en-US" dirty="0" err="1"/>
              <a:t>vierter</a:t>
            </a:r>
            <a:r>
              <a:rPr lang="en-US" dirty="0"/>
              <a:t> </a:t>
            </a:r>
            <a:r>
              <a:rPr lang="en-US" dirty="0" err="1"/>
              <a:t>Punkt</a:t>
            </a:r>
            <a:endParaRPr lang="en-US" dirty="0"/>
          </a:p>
          <a:p>
            <a:pPr lvl="4"/>
            <a:r>
              <a:rPr lang="en-US" dirty="0" err="1"/>
              <a:t>fünfter</a:t>
            </a:r>
            <a:r>
              <a:rPr lang="en-US" dirty="0"/>
              <a:t> </a:t>
            </a:r>
            <a:r>
              <a:rPr lang="en-US" dirty="0" err="1"/>
              <a:t>Punk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97163" y="4900712"/>
            <a:ext cx="2133600" cy="92333"/>
          </a:xfrm>
          <a:prstGeom prst="rect">
            <a:avLst/>
          </a:prstGeom>
        </p:spPr>
        <p:txBody>
          <a:bodyPr vert="horz" wrap="square" lIns="0" tIns="0" rIns="0" bIns="0" numCol="1" rtlCol="0" anchor="t" anchorCtr="0">
            <a:spAutoFit/>
          </a:bodyPr>
          <a:lstStyle>
            <a:lvl1pPr algn="r">
              <a:defRPr sz="600">
                <a:solidFill>
                  <a:schemeClr val="bg2"/>
                </a:solidFill>
                <a:latin typeface="Avenir Book" panose="02000503020000020003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97163" y="4785396"/>
            <a:ext cx="2133600" cy="92333"/>
          </a:xfrm>
          <a:prstGeom prst="rect">
            <a:avLst/>
          </a:prstGeom>
        </p:spPr>
        <p:txBody>
          <a:bodyPr vert="horz" wrap="square" lIns="0" tIns="0" rIns="0" bIns="0" numCol="1" rtlCol="0" anchor="t" anchorCtr="0">
            <a:spAutoFit/>
          </a:bodyPr>
          <a:lstStyle>
            <a:lvl1pPr algn="r">
              <a:defRPr sz="600">
                <a:solidFill>
                  <a:schemeClr val="tx1"/>
                </a:solidFill>
                <a:latin typeface="Avenir Book" panose="02000503020000020003" pitchFamily="2" charset="0"/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9627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Avenir Book" panose="02000503020000020003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800" kern="1200">
          <a:solidFill>
            <a:schemeClr val="bg2"/>
          </a:solidFill>
          <a:latin typeface="Avenir Book" panose="02000503020000020003" pitchFamily="2" charset="0"/>
          <a:ea typeface="+mn-ea"/>
          <a:cs typeface="+mn-cs"/>
        </a:defRPr>
      </a:lvl1pPr>
      <a:lvl2pPr marL="108000" indent="-108000" algn="l" defTabSz="914400" rtl="0" eaLnBrk="1" latinLnBrk="0" hangingPunct="1">
        <a:spcBef>
          <a:spcPts val="0"/>
        </a:spcBef>
        <a:spcAft>
          <a:spcPts val="400"/>
        </a:spcAft>
        <a:buFont typeface="Wingdings" panose="05000000000000000000" pitchFamily="2" charset="2"/>
        <a:buChar char="§"/>
        <a:defRPr sz="800" kern="1200">
          <a:solidFill>
            <a:schemeClr val="bg2"/>
          </a:solidFill>
          <a:latin typeface="Avenir Book" panose="02000503020000020003" pitchFamily="2" charset="0"/>
          <a:ea typeface="+mn-ea"/>
          <a:cs typeface="+mn-cs"/>
        </a:defRPr>
      </a:lvl2pPr>
      <a:lvl3pPr marL="216000" indent="-108000" algn="l" defTabSz="914400" rtl="0" eaLnBrk="1" latinLnBrk="0" hangingPunct="1">
        <a:spcBef>
          <a:spcPts val="0"/>
        </a:spcBef>
        <a:spcAft>
          <a:spcPts val="400"/>
        </a:spcAft>
        <a:buFont typeface="Arial" panose="020B0604020202020204" pitchFamily="34" charset="0"/>
        <a:buChar char="–"/>
        <a:defRPr sz="800" kern="1200">
          <a:solidFill>
            <a:schemeClr val="bg2"/>
          </a:solidFill>
          <a:latin typeface="Avenir Book" panose="02000503020000020003" pitchFamily="2" charset="0"/>
          <a:ea typeface="+mn-ea"/>
          <a:cs typeface="+mn-cs"/>
        </a:defRPr>
      </a:lvl3pPr>
      <a:lvl4pPr marL="324000" indent="-108000" algn="l" defTabSz="914400" rtl="0" eaLnBrk="1" latinLnBrk="0" hangingPunct="1"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sz="800" kern="1200">
          <a:solidFill>
            <a:schemeClr val="bg2"/>
          </a:solidFill>
          <a:latin typeface="Avenir Book" panose="02000503020000020003" pitchFamily="2" charset="0"/>
          <a:ea typeface="+mn-ea"/>
          <a:cs typeface="+mn-cs"/>
        </a:defRPr>
      </a:lvl4pPr>
      <a:lvl5pPr marL="432000" indent="-108000" algn="l" defTabSz="914400" rtl="0" eaLnBrk="1" latinLnBrk="0" hangingPunct="1">
        <a:spcBef>
          <a:spcPts val="0"/>
        </a:spcBef>
        <a:spcAft>
          <a:spcPts val="400"/>
        </a:spcAft>
        <a:buFont typeface="Arial" panose="020B0604020202020204" pitchFamily="34" charset="0"/>
        <a:buChar char="–"/>
        <a:defRPr sz="800" kern="1200">
          <a:solidFill>
            <a:schemeClr val="bg2"/>
          </a:solidFill>
          <a:latin typeface="Avenir Book" panose="02000503020000020003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81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5562" userDrawn="1">
          <p15:clr>
            <a:srgbClr val="F26B43"/>
          </p15:clr>
        </p15:guide>
        <p15:guide id="4" pos="194" userDrawn="1">
          <p15:clr>
            <a:srgbClr val="F26B43"/>
          </p15:clr>
        </p15:guide>
        <p15:guide id="5" orient="horz" pos="2922" userDrawn="1">
          <p15:clr>
            <a:srgbClr val="F26B43"/>
          </p15:clr>
        </p15:guide>
        <p15:guide id="6" orient="horz" pos="184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F7436E-B9BA-1344-B378-F1E4740F5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L – Roadmap for stock trading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7048D9C-D5DE-044D-AC8B-BF4F34E83CD5}"/>
              </a:ext>
            </a:extLst>
          </p:cNvPr>
          <p:cNvGrpSpPr/>
          <p:nvPr/>
        </p:nvGrpSpPr>
        <p:grpSpPr bwMode="gray">
          <a:xfrm>
            <a:off x="1995829" y="9556"/>
            <a:ext cx="5954798" cy="5150949"/>
            <a:chOff x="868316" y="0"/>
            <a:chExt cx="8425094" cy="12830177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1DF76D9-D2E7-374B-861D-3B373A7AE650}"/>
                </a:ext>
              </a:extLst>
            </p:cNvPr>
            <p:cNvSpPr/>
            <p:nvPr/>
          </p:nvSpPr>
          <p:spPr bwMode="gray">
            <a:xfrm>
              <a:off x="868316" y="0"/>
              <a:ext cx="8425094" cy="12815205"/>
            </a:xfrm>
            <a:custGeom>
              <a:avLst/>
              <a:gdLst>
                <a:gd name="connsiteX0" fmla="*/ 3743444 w 8425094"/>
                <a:gd name="connsiteY0" fmla="*/ 0 h 12815206"/>
                <a:gd name="connsiteX1" fmla="*/ 4242971 w 8425094"/>
                <a:gd name="connsiteY1" fmla="*/ 0 h 12815206"/>
                <a:gd name="connsiteX2" fmla="*/ 4823825 w 8425094"/>
                <a:gd name="connsiteY2" fmla="*/ 243359 h 12815206"/>
                <a:gd name="connsiteX3" fmla="*/ 4748714 w 8425094"/>
                <a:gd name="connsiteY3" fmla="*/ 538459 h 12815206"/>
                <a:gd name="connsiteX4" fmla="*/ 7116356 w 8425094"/>
                <a:gd name="connsiteY4" fmla="*/ 2210699 h 12815206"/>
                <a:gd name="connsiteX5" fmla="*/ 5262519 w 8425094"/>
                <a:gd name="connsiteY5" fmla="*/ 5283028 h 12815206"/>
                <a:gd name="connsiteX6" fmla="*/ 8425094 w 8425094"/>
                <a:gd name="connsiteY6" fmla="*/ 12815206 h 12815206"/>
                <a:gd name="connsiteX7" fmla="*/ 0 w 8425094"/>
                <a:gd name="connsiteY7" fmla="*/ 12815206 h 12815206"/>
                <a:gd name="connsiteX8" fmla="*/ 1569726 w 8425094"/>
                <a:gd name="connsiteY8" fmla="*/ 5946394 h 12815206"/>
                <a:gd name="connsiteX9" fmla="*/ 5425805 w 8425094"/>
                <a:gd name="connsiteY9" fmla="*/ 2223815 h 12815206"/>
                <a:gd name="connsiteX10" fmla="*/ 3964942 w 8425094"/>
                <a:gd name="connsiteY10" fmla="*/ 784377 h 12815206"/>
                <a:gd name="connsiteX11" fmla="*/ 4201162 w 8425094"/>
                <a:gd name="connsiteY11" fmla="*/ 278333 h 12815206"/>
                <a:gd name="connsiteX12" fmla="*/ 3743444 w 8425094"/>
                <a:gd name="connsiteY12" fmla="*/ 0 h 12815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425094" h="12815206">
                  <a:moveTo>
                    <a:pt x="3743444" y="0"/>
                  </a:moveTo>
                  <a:lnTo>
                    <a:pt x="4242971" y="0"/>
                  </a:lnTo>
                  <a:cubicBezTo>
                    <a:pt x="4468543" y="63369"/>
                    <a:pt x="4756346" y="148447"/>
                    <a:pt x="4823825" y="243359"/>
                  </a:cubicBezTo>
                  <a:cubicBezTo>
                    <a:pt x="4897848" y="372328"/>
                    <a:pt x="4758511" y="440093"/>
                    <a:pt x="4748714" y="538459"/>
                  </a:cubicBezTo>
                  <a:cubicBezTo>
                    <a:pt x="4791168" y="1095873"/>
                    <a:pt x="6929122" y="1484969"/>
                    <a:pt x="7116356" y="2210699"/>
                  </a:cubicBezTo>
                  <a:cubicBezTo>
                    <a:pt x="7219770" y="2798715"/>
                    <a:pt x="5471525" y="3685111"/>
                    <a:pt x="5262519" y="5283028"/>
                  </a:cubicBezTo>
                  <a:cubicBezTo>
                    <a:pt x="5173830" y="6895069"/>
                    <a:pt x="7469829" y="10639754"/>
                    <a:pt x="8425094" y="12815206"/>
                  </a:cubicBezTo>
                  <a:lnTo>
                    <a:pt x="0" y="12815206"/>
                  </a:lnTo>
                  <a:cubicBezTo>
                    <a:pt x="150995" y="11838890"/>
                    <a:pt x="854209" y="7391299"/>
                    <a:pt x="1569726" y="5946394"/>
                  </a:cubicBezTo>
                  <a:cubicBezTo>
                    <a:pt x="2603052" y="4144912"/>
                    <a:pt x="5106854" y="2948452"/>
                    <a:pt x="5425805" y="2223815"/>
                  </a:cubicBezTo>
                  <a:cubicBezTo>
                    <a:pt x="5581471" y="1613939"/>
                    <a:pt x="4055161" y="1157107"/>
                    <a:pt x="3964942" y="784377"/>
                  </a:cubicBezTo>
                  <a:cubicBezTo>
                    <a:pt x="3882755" y="444829"/>
                    <a:pt x="4170682" y="413861"/>
                    <a:pt x="4201162" y="278333"/>
                  </a:cubicBezTo>
                  <a:cubicBezTo>
                    <a:pt x="4174379" y="142564"/>
                    <a:pt x="3962367" y="87385"/>
                    <a:pt x="3743444" y="0"/>
                  </a:cubicBezTo>
                  <a:close/>
                </a:path>
              </a:pathLst>
            </a:custGeom>
            <a:gradFill flip="none" rotWithShape="1">
              <a:gsLst>
                <a:gs pos="34000">
                  <a:srgbClr val="0070C0">
                    <a:alpha val="80490"/>
                  </a:srgbClr>
                </a:gs>
                <a:gs pos="86000">
                  <a:srgbClr val="0070C0">
                    <a:alpha val="19000"/>
                  </a:srgbClr>
                </a:gs>
                <a:gs pos="10000">
                  <a:srgbClr val="0070C0"/>
                </a:gs>
                <a:gs pos="0">
                  <a:srgbClr val="0070C0"/>
                </a:gs>
                <a:gs pos="100000">
                  <a:sysClr val="window" lastClr="FFFFFF"/>
                </a:gs>
              </a:gsLst>
              <a:lin ang="16200000" scaled="1"/>
              <a:tileRect/>
            </a:gradFill>
            <a:ln w="285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2B572464-5EA9-B74F-8ED8-BE2F6A7EF2F9}"/>
                </a:ext>
              </a:extLst>
            </p:cNvPr>
            <p:cNvSpPr/>
            <p:nvPr/>
          </p:nvSpPr>
          <p:spPr bwMode="gray">
            <a:xfrm>
              <a:off x="1054538" y="0"/>
              <a:ext cx="8051801" cy="12815205"/>
            </a:xfrm>
            <a:custGeom>
              <a:avLst/>
              <a:gdLst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4943951 w 8051801"/>
                <a:gd name="connsiteY26" fmla="*/ 5321128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875695 w 8051801"/>
                <a:gd name="connsiteY29" fmla="*/ 5478784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4943951 w 8051801"/>
                <a:gd name="connsiteY26" fmla="*/ 5321128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894745 w 8051801"/>
                <a:gd name="connsiteY29" fmla="*/ 5478784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4943951 w 8051801"/>
                <a:gd name="connsiteY26" fmla="*/ 5321128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894745 w 8051801"/>
                <a:gd name="connsiteY29" fmla="*/ 5478784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4924901 w 8051801"/>
                <a:gd name="connsiteY26" fmla="*/ 5359228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894745 w 8051801"/>
                <a:gd name="connsiteY29" fmla="*/ 5478784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4924901 w 8051801"/>
                <a:gd name="connsiteY26" fmla="*/ 5359228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894745 w 8051801"/>
                <a:gd name="connsiteY29" fmla="*/ 5478784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4924901 w 8051801"/>
                <a:gd name="connsiteY26" fmla="*/ 5406853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894745 w 8051801"/>
                <a:gd name="connsiteY29" fmla="*/ 5478784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4924901 w 8051801"/>
                <a:gd name="connsiteY26" fmla="*/ 5406853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913795 w 8051801"/>
                <a:gd name="connsiteY29" fmla="*/ 5507359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4924901 w 8051801"/>
                <a:gd name="connsiteY26" fmla="*/ 5406853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913795 w 8051801"/>
                <a:gd name="connsiteY29" fmla="*/ 5507359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4924901 w 8051801"/>
                <a:gd name="connsiteY26" fmla="*/ 5406853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913795 w 8051801"/>
                <a:gd name="connsiteY29" fmla="*/ 5507359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4924901 w 8051801"/>
                <a:gd name="connsiteY26" fmla="*/ 5406853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977295 w 8051801"/>
                <a:gd name="connsiteY29" fmla="*/ 5520059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4924901 w 8051801"/>
                <a:gd name="connsiteY26" fmla="*/ 5406853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774095 w 8051801"/>
                <a:gd name="connsiteY29" fmla="*/ 5443859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4924901 w 8051801"/>
                <a:gd name="connsiteY26" fmla="*/ 5406853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862995 w 8051801"/>
                <a:gd name="connsiteY29" fmla="*/ 5532759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4924901 w 8051801"/>
                <a:gd name="connsiteY26" fmla="*/ 5406853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878493 w 8051801"/>
                <a:gd name="connsiteY29" fmla="*/ 5548257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4924901 w 8051801"/>
                <a:gd name="connsiteY26" fmla="*/ 5406853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878493 w 8051801"/>
                <a:gd name="connsiteY29" fmla="*/ 5548257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4924901 w 8051801"/>
                <a:gd name="connsiteY26" fmla="*/ 5406853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878493 w 8051801"/>
                <a:gd name="connsiteY29" fmla="*/ 5548257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4924901 w 8051801"/>
                <a:gd name="connsiteY26" fmla="*/ 5406853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878493 w 8051801"/>
                <a:gd name="connsiteY29" fmla="*/ 5548257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4924901 w 8051801"/>
                <a:gd name="connsiteY26" fmla="*/ 5406853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878493 w 8051801"/>
                <a:gd name="connsiteY29" fmla="*/ 5548257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4924901 w 8051801"/>
                <a:gd name="connsiteY26" fmla="*/ 5406853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878493 w 8051801"/>
                <a:gd name="connsiteY29" fmla="*/ 5548257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5005112 w 8051801"/>
                <a:gd name="connsiteY26" fmla="*/ 5278517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878493 w 8051801"/>
                <a:gd name="connsiteY29" fmla="*/ 5548257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5005112 w 8051801"/>
                <a:gd name="connsiteY26" fmla="*/ 5278517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942661 w 8051801"/>
                <a:gd name="connsiteY29" fmla="*/ 5419921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5005112 w 8051801"/>
                <a:gd name="connsiteY26" fmla="*/ 5278517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942661 w 8051801"/>
                <a:gd name="connsiteY29" fmla="*/ 5419921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5005112 w 8051801"/>
                <a:gd name="connsiteY26" fmla="*/ 5278517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942661 w 8051801"/>
                <a:gd name="connsiteY29" fmla="*/ 5419921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5005112 w 8051801"/>
                <a:gd name="connsiteY26" fmla="*/ 5278517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942661 w 8051801"/>
                <a:gd name="connsiteY29" fmla="*/ 5419921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5005112 w 8051801"/>
                <a:gd name="connsiteY26" fmla="*/ 5278517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942661 w 8051801"/>
                <a:gd name="connsiteY29" fmla="*/ 5419921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5005112 w 8051801"/>
                <a:gd name="connsiteY26" fmla="*/ 5278517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942661 w 8051801"/>
                <a:gd name="connsiteY29" fmla="*/ 5419921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5005112 w 8051801"/>
                <a:gd name="connsiteY26" fmla="*/ 5278517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942661 w 8051801"/>
                <a:gd name="connsiteY29" fmla="*/ 5419921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5005112 w 8051801"/>
                <a:gd name="connsiteY26" fmla="*/ 5278517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942661 w 8051801"/>
                <a:gd name="connsiteY29" fmla="*/ 5419921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403233 w 8051801"/>
                <a:gd name="connsiteY4" fmla="*/ 5904618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5005112 w 8051801"/>
                <a:gd name="connsiteY26" fmla="*/ 5278517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942661 w 8051801"/>
                <a:gd name="connsiteY29" fmla="*/ 5419921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540832 w 8051801"/>
                <a:gd name="connsiteY4" fmla="*/ 6022594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294820 w 8051801"/>
                <a:gd name="connsiteY7" fmla="*/ 5904618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5005112 w 8051801"/>
                <a:gd name="connsiteY26" fmla="*/ 5278517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942661 w 8051801"/>
                <a:gd name="connsiteY29" fmla="*/ 5419921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  <a:gd name="connsiteX0" fmla="*/ 3916625 w 8051801"/>
                <a:gd name="connsiteY0" fmla="*/ 126826 h 12815206"/>
                <a:gd name="connsiteX1" fmla="*/ 4027911 w 8051801"/>
                <a:gd name="connsiteY1" fmla="*/ 249304 h 12815206"/>
                <a:gd name="connsiteX2" fmla="*/ 3826613 w 8051801"/>
                <a:gd name="connsiteY2" fmla="*/ 802175 h 12815206"/>
                <a:gd name="connsiteX3" fmla="*/ 5318395 w 8051801"/>
                <a:gd name="connsiteY3" fmla="*/ 2200540 h 12815206"/>
                <a:gd name="connsiteX4" fmla="*/ 1540832 w 8051801"/>
                <a:gd name="connsiteY4" fmla="*/ 6022594 h 12815206"/>
                <a:gd name="connsiteX5" fmla="*/ 159909 w 8051801"/>
                <a:gd name="connsiteY5" fmla="*/ 12815206 h 12815206"/>
                <a:gd name="connsiteX6" fmla="*/ 0 w 8051801"/>
                <a:gd name="connsiteY6" fmla="*/ 12815206 h 12815206"/>
                <a:gd name="connsiteX7" fmla="*/ 1432419 w 8051801"/>
                <a:gd name="connsiteY7" fmla="*/ 6069784 h 12815206"/>
                <a:gd name="connsiteX8" fmla="*/ 5276144 w 8051801"/>
                <a:gd name="connsiteY8" fmla="*/ 2216307 h 12815206"/>
                <a:gd name="connsiteX9" fmla="*/ 3801457 w 8051801"/>
                <a:gd name="connsiteY9" fmla="*/ 788913 h 12815206"/>
                <a:gd name="connsiteX10" fmla="*/ 4008655 w 8051801"/>
                <a:gd name="connsiteY10" fmla="*/ 236605 h 12815206"/>
                <a:gd name="connsiteX11" fmla="*/ 3916625 w 8051801"/>
                <a:gd name="connsiteY11" fmla="*/ 126826 h 12815206"/>
                <a:gd name="connsiteX12" fmla="*/ 3899338 w 8051801"/>
                <a:gd name="connsiteY12" fmla="*/ 118504 h 12815206"/>
                <a:gd name="connsiteX13" fmla="*/ 3916625 w 8051801"/>
                <a:gd name="connsiteY13" fmla="*/ 126826 h 12815206"/>
                <a:gd name="connsiteX14" fmla="*/ 3899338 w 8051801"/>
                <a:gd name="connsiteY14" fmla="*/ 118504 h 12815206"/>
                <a:gd name="connsiteX15" fmla="*/ 3862408 w 8051801"/>
                <a:gd name="connsiteY15" fmla="*/ 101879 h 12815206"/>
                <a:gd name="connsiteX16" fmla="*/ 3899338 w 8051801"/>
                <a:gd name="connsiteY16" fmla="*/ 118504 h 12815206"/>
                <a:gd name="connsiteX17" fmla="*/ 3862408 w 8051801"/>
                <a:gd name="connsiteY17" fmla="*/ 101879 h 12815206"/>
                <a:gd name="connsiteX18" fmla="*/ 3850590 w 8051801"/>
                <a:gd name="connsiteY18" fmla="*/ 97325 h 12815206"/>
                <a:gd name="connsiteX19" fmla="*/ 3862408 w 8051801"/>
                <a:gd name="connsiteY19" fmla="*/ 101879 h 12815206"/>
                <a:gd name="connsiteX20" fmla="*/ 3850590 w 8051801"/>
                <a:gd name="connsiteY20" fmla="*/ 97325 h 12815206"/>
                <a:gd name="connsiteX21" fmla="*/ 4046496 w 8051801"/>
                <a:gd name="connsiteY21" fmla="*/ 0 h 12815206"/>
                <a:gd name="connsiteX22" fmla="*/ 4047568 w 8051801"/>
                <a:gd name="connsiteY22" fmla="*/ 0 h 12815206"/>
                <a:gd name="connsiteX23" fmla="*/ 4601665 w 8051801"/>
                <a:gd name="connsiteY23" fmla="*/ 243359 h 12815206"/>
                <a:gd name="connsiteX24" fmla="*/ 4530014 w 8051801"/>
                <a:gd name="connsiteY24" fmla="*/ 538459 h 12815206"/>
                <a:gd name="connsiteX25" fmla="*/ 6865039 w 8051801"/>
                <a:gd name="connsiteY25" fmla="*/ 2229749 h 12815206"/>
                <a:gd name="connsiteX26" fmla="*/ 5005112 w 8051801"/>
                <a:gd name="connsiteY26" fmla="*/ 5278517 h 12815206"/>
                <a:gd name="connsiteX27" fmla="*/ 8051801 w 8051801"/>
                <a:gd name="connsiteY27" fmla="*/ 12815206 h 12815206"/>
                <a:gd name="connsiteX28" fmla="*/ 7830053 w 8051801"/>
                <a:gd name="connsiteY28" fmla="*/ 12815206 h 12815206"/>
                <a:gd name="connsiteX29" fmla="*/ 4942661 w 8051801"/>
                <a:gd name="connsiteY29" fmla="*/ 5419921 h 12815206"/>
                <a:gd name="connsiteX30" fmla="*/ 6799207 w 8051801"/>
                <a:gd name="connsiteY30" fmla="*/ 2245515 h 12815206"/>
                <a:gd name="connsiteX31" fmla="*/ 4509754 w 8051801"/>
                <a:gd name="connsiteY31" fmla="*/ 538459 h 12815206"/>
                <a:gd name="connsiteX32" fmla="*/ 4578556 w 8051801"/>
                <a:gd name="connsiteY32" fmla="*/ 243359 h 12815206"/>
                <a:gd name="connsiteX33" fmla="*/ 4046496 w 8051801"/>
                <a:gd name="connsiteY33" fmla="*/ 0 h 12815206"/>
                <a:gd name="connsiteX34" fmla="*/ 3571051 w 8051801"/>
                <a:gd name="connsiteY34" fmla="*/ 0 h 12815206"/>
                <a:gd name="connsiteX35" fmla="*/ 3588932 w 8051801"/>
                <a:gd name="connsiteY35" fmla="*/ 0 h 12815206"/>
                <a:gd name="connsiteX36" fmla="*/ 3850590 w 8051801"/>
                <a:gd name="connsiteY36" fmla="*/ 97325 h 12815206"/>
                <a:gd name="connsiteX37" fmla="*/ 3571051 w 8051801"/>
                <a:gd name="connsiteY37" fmla="*/ 0 h 12815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051801" h="12815206">
                  <a:moveTo>
                    <a:pt x="3916625" y="126826"/>
                  </a:moveTo>
                  <a:cubicBezTo>
                    <a:pt x="3976307" y="156710"/>
                    <a:pt x="4017894" y="193870"/>
                    <a:pt x="4027911" y="249304"/>
                  </a:cubicBezTo>
                  <a:cubicBezTo>
                    <a:pt x="3999992" y="384832"/>
                    <a:pt x="3751331" y="462627"/>
                    <a:pt x="3826613" y="802175"/>
                  </a:cubicBezTo>
                  <a:cubicBezTo>
                    <a:pt x="3981826" y="1174905"/>
                    <a:pt x="5456321" y="1564607"/>
                    <a:pt x="5318395" y="2200540"/>
                  </a:cubicBezTo>
                  <a:cubicBezTo>
                    <a:pt x="5159966" y="2766208"/>
                    <a:pt x="2243877" y="4338697"/>
                    <a:pt x="1540832" y="6022594"/>
                  </a:cubicBezTo>
                  <a:cubicBezTo>
                    <a:pt x="885423" y="7467496"/>
                    <a:pt x="297065" y="11839874"/>
                    <a:pt x="159909" y="12815206"/>
                  </a:cubicBezTo>
                  <a:lnTo>
                    <a:pt x="0" y="12815206"/>
                  </a:lnTo>
                  <a:cubicBezTo>
                    <a:pt x="142834" y="11839876"/>
                    <a:pt x="749863" y="7514686"/>
                    <a:pt x="1432419" y="6069784"/>
                  </a:cubicBezTo>
                  <a:cubicBezTo>
                    <a:pt x="2164585" y="4385887"/>
                    <a:pt x="5111153" y="2781975"/>
                    <a:pt x="5276144" y="2216307"/>
                  </a:cubicBezTo>
                  <a:cubicBezTo>
                    <a:pt x="5419783" y="1580374"/>
                    <a:pt x="3887520" y="1161643"/>
                    <a:pt x="3801457" y="788913"/>
                  </a:cubicBezTo>
                  <a:cubicBezTo>
                    <a:pt x="3723056" y="449365"/>
                    <a:pt x="3979579" y="372133"/>
                    <a:pt x="4008655" y="236605"/>
                  </a:cubicBezTo>
                  <a:cubicBezTo>
                    <a:pt x="3999247" y="186613"/>
                    <a:pt x="3965752" y="153205"/>
                    <a:pt x="3916625" y="126826"/>
                  </a:cubicBezTo>
                  <a:close/>
                  <a:moveTo>
                    <a:pt x="3899338" y="118504"/>
                  </a:moveTo>
                  <a:cubicBezTo>
                    <a:pt x="3905543" y="120683"/>
                    <a:pt x="3911247" y="123590"/>
                    <a:pt x="3916625" y="126826"/>
                  </a:cubicBezTo>
                  <a:lnTo>
                    <a:pt x="3899338" y="118504"/>
                  </a:lnTo>
                  <a:close/>
                  <a:moveTo>
                    <a:pt x="3862408" y="101879"/>
                  </a:moveTo>
                  <a:cubicBezTo>
                    <a:pt x="3875443" y="106826"/>
                    <a:pt x="3887866" y="112180"/>
                    <a:pt x="3899338" y="118504"/>
                  </a:cubicBezTo>
                  <a:lnTo>
                    <a:pt x="3862408" y="101879"/>
                  </a:lnTo>
                  <a:close/>
                  <a:moveTo>
                    <a:pt x="3850590" y="97325"/>
                  </a:moveTo>
                  <a:cubicBezTo>
                    <a:pt x="3854661" y="98627"/>
                    <a:pt x="3858600" y="100151"/>
                    <a:pt x="3862408" y="101879"/>
                  </a:cubicBezTo>
                  <a:lnTo>
                    <a:pt x="3850590" y="97325"/>
                  </a:lnTo>
                  <a:close/>
                  <a:moveTo>
                    <a:pt x="4046496" y="0"/>
                  </a:moveTo>
                  <a:lnTo>
                    <a:pt x="4047568" y="0"/>
                  </a:lnTo>
                  <a:cubicBezTo>
                    <a:pt x="4262749" y="63369"/>
                    <a:pt x="4537295" y="148447"/>
                    <a:pt x="4601665" y="243359"/>
                  </a:cubicBezTo>
                  <a:cubicBezTo>
                    <a:pt x="4672278" y="372328"/>
                    <a:pt x="4539360" y="440093"/>
                    <a:pt x="4530014" y="538459"/>
                  </a:cubicBezTo>
                  <a:cubicBezTo>
                    <a:pt x="4570513" y="1095873"/>
                    <a:pt x="6686430" y="1491757"/>
                    <a:pt x="6865039" y="2229749"/>
                  </a:cubicBezTo>
                  <a:cubicBezTo>
                    <a:pt x="6976827" y="2776161"/>
                    <a:pt x="5175461" y="3680600"/>
                    <a:pt x="5005112" y="5278517"/>
                  </a:cubicBezTo>
                  <a:cubicBezTo>
                    <a:pt x="4914609" y="6677442"/>
                    <a:pt x="6984386" y="10608857"/>
                    <a:pt x="8051801" y="12815206"/>
                  </a:cubicBezTo>
                  <a:lnTo>
                    <a:pt x="7830053" y="12815206"/>
                  </a:lnTo>
                  <a:cubicBezTo>
                    <a:pt x="7638890" y="12332365"/>
                    <a:pt x="5101172" y="7507951"/>
                    <a:pt x="4942661" y="5419921"/>
                  </a:cubicBezTo>
                  <a:cubicBezTo>
                    <a:pt x="4913080" y="3929718"/>
                    <a:pt x="6871479" y="2868127"/>
                    <a:pt x="6799207" y="2245515"/>
                  </a:cubicBezTo>
                  <a:cubicBezTo>
                    <a:pt x="6716601" y="1583723"/>
                    <a:pt x="4548642" y="1095873"/>
                    <a:pt x="4509754" y="538459"/>
                  </a:cubicBezTo>
                  <a:cubicBezTo>
                    <a:pt x="4518728" y="440093"/>
                    <a:pt x="4646360" y="372328"/>
                    <a:pt x="4578556" y="243359"/>
                  </a:cubicBezTo>
                  <a:cubicBezTo>
                    <a:pt x="4516745" y="148447"/>
                    <a:pt x="4253119" y="63369"/>
                    <a:pt x="4046496" y="0"/>
                  </a:cubicBezTo>
                  <a:close/>
                  <a:moveTo>
                    <a:pt x="3571051" y="0"/>
                  </a:moveTo>
                  <a:lnTo>
                    <a:pt x="3588932" y="0"/>
                  </a:lnTo>
                  <a:cubicBezTo>
                    <a:pt x="3679738" y="39570"/>
                    <a:pt x="3773288" y="66584"/>
                    <a:pt x="3850590" y="97325"/>
                  </a:cubicBezTo>
                  <a:cubicBezTo>
                    <a:pt x="3771757" y="67236"/>
                    <a:pt x="3672062" y="42266"/>
                    <a:pt x="3571051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285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3866A08B-7D50-A04F-B449-7B3FC61E075C}"/>
                </a:ext>
              </a:extLst>
            </p:cNvPr>
            <p:cNvSpPr/>
            <p:nvPr/>
          </p:nvSpPr>
          <p:spPr bwMode="gray">
            <a:xfrm>
              <a:off x="4026869" y="0"/>
              <a:ext cx="2983984" cy="12830177"/>
            </a:xfrm>
            <a:custGeom>
              <a:avLst/>
              <a:gdLst>
                <a:gd name="connsiteX0" fmla="*/ 848551 w 3012743"/>
                <a:gd name="connsiteY0" fmla="*/ 0 h 12815206"/>
                <a:gd name="connsiteX1" fmla="*/ 892447 w 3012743"/>
                <a:gd name="connsiteY1" fmla="*/ 0 h 12815206"/>
                <a:gd name="connsiteX2" fmla="*/ 1129958 w 3012743"/>
                <a:gd name="connsiteY2" fmla="*/ 82688 h 12815206"/>
                <a:gd name="connsiteX3" fmla="*/ 1286618 w 3012743"/>
                <a:gd name="connsiteY3" fmla="*/ 245308 h 12815206"/>
                <a:gd name="connsiteX4" fmla="*/ 1126593 w 3012743"/>
                <a:gd name="connsiteY4" fmla="*/ 625254 h 12815206"/>
                <a:gd name="connsiteX5" fmla="*/ 3011488 w 3012743"/>
                <a:gd name="connsiteY5" fmla="*/ 2177376 h 12815206"/>
                <a:gd name="connsiteX6" fmla="*/ 112847 w 3012743"/>
                <a:gd name="connsiteY6" fmla="*/ 6163004 h 12815206"/>
                <a:gd name="connsiteX7" fmla="*/ 1259733 w 3012743"/>
                <a:gd name="connsiteY7" fmla="*/ 12815206 h 12815206"/>
                <a:gd name="connsiteX8" fmla="*/ 1006737 w 3012743"/>
                <a:gd name="connsiteY8" fmla="*/ 12815206 h 12815206"/>
                <a:gd name="connsiteX9" fmla="*/ 1068854 w 3012743"/>
                <a:gd name="connsiteY9" fmla="*/ 12814135 h 12815206"/>
                <a:gd name="connsiteX10" fmla="*/ 12565 w 3012743"/>
                <a:gd name="connsiteY10" fmla="*/ 5958051 h 12815206"/>
                <a:gd name="connsiteX11" fmla="*/ 2957103 w 3012743"/>
                <a:gd name="connsiteY11" fmla="*/ 2177375 h 12815206"/>
                <a:gd name="connsiteX12" fmla="*/ 1113195 w 3012743"/>
                <a:gd name="connsiteY12" fmla="*/ 624728 h 12815206"/>
                <a:gd name="connsiteX13" fmla="*/ 1255084 w 3012743"/>
                <a:gd name="connsiteY13" fmla="*/ 245307 h 12815206"/>
                <a:gd name="connsiteX14" fmla="*/ 848551 w 3012743"/>
                <a:gd name="connsiteY14" fmla="*/ 0 h 12815206"/>
                <a:gd name="connsiteX0" fmla="*/ 848551 w 2982284"/>
                <a:gd name="connsiteY0" fmla="*/ 0 h 12815206"/>
                <a:gd name="connsiteX1" fmla="*/ 892447 w 2982284"/>
                <a:gd name="connsiteY1" fmla="*/ 0 h 12815206"/>
                <a:gd name="connsiteX2" fmla="*/ 1129958 w 2982284"/>
                <a:gd name="connsiteY2" fmla="*/ 82688 h 12815206"/>
                <a:gd name="connsiteX3" fmla="*/ 1286618 w 2982284"/>
                <a:gd name="connsiteY3" fmla="*/ 245308 h 12815206"/>
                <a:gd name="connsiteX4" fmla="*/ 1126593 w 2982284"/>
                <a:gd name="connsiteY4" fmla="*/ 625254 h 12815206"/>
                <a:gd name="connsiteX5" fmla="*/ 2981008 w 2982284"/>
                <a:gd name="connsiteY5" fmla="*/ 2177376 h 12815206"/>
                <a:gd name="connsiteX6" fmla="*/ 112847 w 2982284"/>
                <a:gd name="connsiteY6" fmla="*/ 6163004 h 12815206"/>
                <a:gd name="connsiteX7" fmla="*/ 1259733 w 2982284"/>
                <a:gd name="connsiteY7" fmla="*/ 12815206 h 12815206"/>
                <a:gd name="connsiteX8" fmla="*/ 1006737 w 2982284"/>
                <a:gd name="connsiteY8" fmla="*/ 12815206 h 12815206"/>
                <a:gd name="connsiteX9" fmla="*/ 1068854 w 2982284"/>
                <a:gd name="connsiteY9" fmla="*/ 12814135 h 12815206"/>
                <a:gd name="connsiteX10" fmla="*/ 12565 w 2982284"/>
                <a:gd name="connsiteY10" fmla="*/ 5958051 h 12815206"/>
                <a:gd name="connsiteX11" fmla="*/ 2957103 w 2982284"/>
                <a:gd name="connsiteY11" fmla="*/ 2177375 h 12815206"/>
                <a:gd name="connsiteX12" fmla="*/ 1113195 w 2982284"/>
                <a:gd name="connsiteY12" fmla="*/ 624728 h 12815206"/>
                <a:gd name="connsiteX13" fmla="*/ 1255084 w 2982284"/>
                <a:gd name="connsiteY13" fmla="*/ 245307 h 12815206"/>
                <a:gd name="connsiteX14" fmla="*/ 848551 w 2982284"/>
                <a:gd name="connsiteY14" fmla="*/ 0 h 12815206"/>
                <a:gd name="connsiteX0" fmla="*/ 848551 w 2982284"/>
                <a:gd name="connsiteY0" fmla="*/ 0 h 12815206"/>
                <a:gd name="connsiteX1" fmla="*/ 892447 w 2982284"/>
                <a:gd name="connsiteY1" fmla="*/ 0 h 12815206"/>
                <a:gd name="connsiteX2" fmla="*/ 1129958 w 2982284"/>
                <a:gd name="connsiteY2" fmla="*/ 82688 h 12815206"/>
                <a:gd name="connsiteX3" fmla="*/ 1286618 w 2982284"/>
                <a:gd name="connsiteY3" fmla="*/ 245308 h 12815206"/>
                <a:gd name="connsiteX4" fmla="*/ 1126593 w 2982284"/>
                <a:gd name="connsiteY4" fmla="*/ 625254 h 12815206"/>
                <a:gd name="connsiteX5" fmla="*/ 2981008 w 2982284"/>
                <a:gd name="connsiteY5" fmla="*/ 2177376 h 12815206"/>
                <a:gd name="connsiteX6" fmla="*/ 67127 w 2982284"/>
                <a:gd name="connsiteY6" fmla="*/ 6155384 h 12815206"/>
                <a:gd name="connsiteX7" fmla="*/ 1259733 w 2982284"/>
                <a:gd name="connsiteY7" fmla="*/ 12815206 h 12815206"/>
                <a:gd name="connsiteX8" fmla="*/ 1006737 w 2982284"/>
                <a:gd name="connsiteY8" fmla="*/ 12815206 h 12815206"/>
                <a:gd name="connsiteX9" fmla="*/ 1068854 w 2982284"/>
                <a:gd name="connsiteY9" fmla="*/ 12814135 h 12815206"/>
                <a:gd name="connsiteX10" fmla="*/ 12565 w 2982284"/>
                <a:gd name="connsiteY10" fmla="*/ 5958051 h 12815206"/>
                <a:gd name="connsiteX11" fmla="*/ 2957103 w 2982284"/>
                <a:gd name="connsiteY11" fmla="*/ 2177375 h 12815206"/>
                <a:gd name="connsiteX12" fmla="*/ 1113195 w 2982284"/>
                <a:gd name="connsiteY12" fmla="*/ 624728 h 12815206"/>
                <a:gd name="connsiteX13" fmla="*/ 1255084 w 2982284"/>
                <a:gd name="connsiteY13" fmla="*/ 245307 h 12815206"/>
                <a:gd name="connsiteX14" fmla="*/ 848551 w 2982284"/>
                <a:gd name="connsiteY14" fmla="*/ 0 h 12815206"/>
                <a:gd name="connsiteX0" fmla="*/ 848551 w 2982284"/>
                <a:gd name="connsiteY0" fmla="*/ 0 h 12815206"/>
                <a:gd name="connsiteX1" fmla="*/ 892447 w 2982284"/>
                <a:gd name="connsiteY1" fmla="*/ 0 h 12815206"/>
                <a:gd name="connsiteX2" fmla="*/ 1129958 w 2982284"/>
                <a:gd name="connsiteY2" fmla="*/ 82688 h 12815206"/>
                <a:gd name="connsiteX3" fmla="*/ 1286618 w 2982284"/>
                <a:gd name="connsiteY3" fmla="*/ 245308 h 12815206"/>
                <a:gd name="connsiteX4" fmla="*/ 1126593 w 2982284"/>
                <a:gd name="connsiteY4" fmla="*/ 625254 h 12815206"/>
                <a:gd name="connsiteX5" fmla="*/ 2981008 w 2982284"/>
                <a:gd name="connsiteY5" fmla="*/ 2177376 h 12815206"/>
                <a:gd name="connsiteX6" fmla="*/ 67127 w 2982284"/>
                <a:gd name="connsiteY6" fmla="*/ 6155384 h 12815206"/>
                <a:gd name="connsiteX7" fmla="*/ 1259733 w 2982284"/>
                <a:gd name="connsiteY7" fmla="*/ 12815206 h 12815206"/>
                <a:gd name="connsiteX8" fmla="*/ 1006737 w 2982284"/>
                <a:gd name="connsiteY8" fmla="*/ 12815206 h 12815206"/>
                <a:gd name="connsiteX9" fmla="*/ 1068854 w 2982284"/>
                <a:gd name="connsiteY9" fmla="*/ 12814135 h 12815206"/>
                <a:gd name="connsiteX10" fmla="*/ 12565 w 2982284"/>
                <a:gd name="connsiteY10" fmla="*/ 5958051 h 12815206"/>
                <a:gd name="connsiteX11" fmla="*/ 2957103 w 2982284"/>
                <a:gd name="connsiteY11" fmla="*/ 2177375 h 12815206"/>
                <a:gd name="connsiteX12" fmla="*/ 1113195 w 2982284"/>
                <a:gd name="connsiteY12" fmla="*/ 624728 h 12815206"/>
                <a:gd name="connsiteX13" fmla="*/ 1255084 w 2982284"/>
                <a:gd name="connsiteY13" fmla="*/ 245307 h 12815206"/>
                <a:gd name="connsiteX14" fmla="*/ 848551 w 2982284"/>
                <a:gd name="connsiteY14" fmla="*/ 0 h 12815206"/>
                <a:gd name="connsiteX0" fmla="*/ 848551 w 2982284"/>
                <a:gd name="connsiteY0" fmla="*/ 0 h 12831248"/>
                <a:gd name="connsiteX1" fmla="*/ 892447 w 2982284"/>
                <a:gd name="connsiteY1" fmla="*/ 0 h 12831248"/>
                <a:gd name="connsiteX2" fmla="*/ 1129958 w 2982284"/>
                <a:gd name="connsiteY2" fmla="*/ 82688 h 12831248"/>
                <a:gd name="connsiteX3" fmla="*/ 1286618 w 2982284"/>
                <a:gd name="connsiteY3" fmla="*/ 245308 h 12831248"/>
                <a:gd name="connsiteX4" fmla="*/ 1126593 w 2982284"/>
                <a:gd name="connsiteY4" fmla="*/ 625254 h 12831248"/>
                <a:gd name="connsiteX5" fmla="*/ 2981008 w 2982284"/>
                <a:gd name="connsiteY5" fmla="*/ 2177376 h 12831248"/>
                <a:gd name="connsiteX6" fmla="*/ 67127 w 2982284"/>
                <a:gd name="connsiteY6" fmla="*/ 6155384 h 12831248"/>
                <a:gd name="connsiteX7" fmla="*/ 1259733 w 2982284"/>
                <a:gd name="connsiteY7" fmla="*/ 12831248 h 12831248"/>
                <a:gd name="connsiteX8" fmla="*/ 1006737 w 2982284"/>
                <a:gd name="connsiteY8" fmla="*/ 12815206 h 12831248"/>
                <a:gd name="connsiteX9" fmla="*/ 1068854 w 2982284"/>
                <a:gd name="connsiteY9" fmla="*/ 12814135 h 12831248"/>
                <a:gd name="connsiteX10" fmla="*/ 12565 w 2982284"/>
                <a:gd name="connsiteY10" fmla="*/ 5958051 h 12831248"/>
                <a:gd name="connsiteX11" fmla="*/ 2957103 w 2982284"/>
                <a:gd name="connsiteY11" fmla="*/ 2177375 h 12831248"/>
                <a:gd name="connsiteX12" fmla="*/ 1113195 w 2982284"/>
                <a:gd name="connsiteY12" fmla="*/ 624728 h 12831248"/>
                <a:gd name="connsiteX13" fmla="*/ 1255084 w 2982284"/>
                <a:gd name="connsiteY13" fmla="*/ 245307 h 12831248"/>
                <a:gd name="connsiteX14" fmla="*/ 848551 w 2982284"/>
                <a:gd name="connsiteY14" fmla="*/ 0 h 12831248"/>
                <a:gd name="connsiteX0" fmla="*/ 848551 w 2982284"/>
                <a:gd name="connsiteY0" fmla="*/ 0 h 12831248"/>
                <a:gd name="connsiteX1" fmla="*/ 892447 w 2982284"/>
                <a:gd name="connsiteY1" fmla="*/ 0 h 12831248"/>
                <a:gd name="connsiteX2" fmla="*/ 1129958 w 2982284"/>
                <a:gd name="connsiteY2" fmla="*/ 82688 h 12831248"/>
                <a:gd name="connsiteX3" fmla="*/ 1286618 w 2982284"/>
                <a:gd name="connsiteY3" fmla="*/ 245308 h 12831248"/>
                <a:gd name="connsiteX4" fmla="*/ 1126593 w 2982284"/>
                <a:gd name="connsiteY4" fmla="*/ 625254 h 12831248"/>
                <a:gd name="connsiteX5" fmla="*/ 2981008 w 2982284"/>
                <a:gd name="connsiteY5" fmla="*/ 2177376 h 12831248"/>
                <a:gd name="connsiteX6" fmla="*/ 67127 w 2982284"/>
                <a:gd name="connsiteY6" fmla="*/ 6155384 h 12831248"/>
                <a:gd name="connsiteX7" fmla="*/ 1259733 w 2982284"/>
                <a:gd name="connsiteY7" fmla="*/ 12831248 h 12831248"/>
                <a:gd name="connsiteX8" fmla="*/ 1006737 w 2982284"/>
                <a:gd name="connsiteY8" fmla="*/ 12815206 h 12831248"/>
                <a:gd name="connsiteX9" fmla="*/ 1068854 w 2982284"/>
                <a:gd name="connsiteY9" fmla="*/ 12814135 h 12831248"/>
                <a:gd name="connsiteX10" fmla="*/ 12565 w 2982284"/>
                <a:gd name="connsiteY10" fmla="*/ 5958051 h 12831248"/>
                <a:gd name="connsiteX11" fmla="*/ 2957103 w 2982284"/>
                <a:gd name="connsiteY11" fmla="*/ 2177375 h 12831248"/>
                <a:gd name="connsiteX12" fmla="*/ 1113195 w 2982284"/>
                <a:gd name="connsiteY12" fmla="*/ 624728 h 12831248"/>
                <a:gd name="connsiteX13" fmla="*/ 1255084 w 2982284"/>
                <a:gd name="connsiteY13" fmla="*/ 245307 h 12831248"/>
                <a:gd name="connsiteX14" fmla="*/ 848551 w 2982284"/>
                <a:gd name="connsiteY14" fmla="*/ 0 h 12831248"/>
                <a:gd name="connsiteX0" fmla="*/ 849481 w 2983214"/>
                <a:gd name="connsiteY0" fmla="*/ 0 h 12831248"/>
                <a:gd name="connsiteX1" fmla="*/ 893377 w 2983214"/>
                <a:gd name="connsiteY1" fmla="*/ 0 h 12831248"/>
                <a:gd name="connsiteX2" fmla="*/ 1130888 w 2983214"/>
                <a:gd name="connsiteY2" fmla="*/ 82688 h 12831248"/>
                <a:gd name="connsiteX3" fmla="*/ 1287548 w 2983214"/>
                <a:gd name="connsiteY3" fmla="*/ 245308 h 12831248"/>
                <a:gd name="connsiteX4" fmla="*/ 1127523 w 2983214"/>
                <a:gd name="connsiteY4" fmla="*/ 625254 h 12831248"/>
                <a:gd name="connsiteX5" fmla="*/ 2981938 w 2983214"/>
                <a:gd name="connsiteY5" fmla="*/ 2177376 h 12831248"/>
                <a:gd name="connsiteX6" fmla="*/ 68057 w 2983214"/>
                <a:gd name="connsiteY6" fmla="*/ 6155384 h 12831248"/>
                <a:gd name="connsiteX7" fmla="*/ 1260663 w 2983214"/>
                <a:gd name="connsiteY7" fmla="*/ 12831248 h 12831248"/>
                <a:gd name="connsiteX8" fmla="*/ 1007667 w 2983214"/>
                <a:gd name="connsiteY8" fmla="*/ 12815206 h 12831248"/>
                <a:gd name="connsiteX9" fmla="*/ 1005616 w 2983214"/>
                <a:gd name="connsiteY9" fmla="*/ 12830177 h 12831248"/>
                <a:gd name="connsiteX10" fmla="*/ 13495 w 2983214"/>
                <a:gd name="connsiteY10" fmla="*/ 5958051 h 12831248"/>
                <a:gd name="connsiteX11" fmla="*/ 2958033 w 2983214"/>
                <a:gd name="connsiteY11" fmla="*/ 2177375 h 12831248"/>
                <a:gd name="connsiteX12" fmla="*/ 1114125 w 2983214"/>
                <a:gd name="connsiteY12" fmla="*/ 624728 h 12831248"/>
                <a:gd name="connsiteX13" fmla="*/ 1256014 w 2983214"/>
                <a:gd name="connsiteY13" fmla="*/ 245307 h 12831248"/>
                <a:gd name="connsiteX14" fmla="*/ 849481 w 2983214"/>
                <a:gd name="connsiteY14" fmla="*/ 0 h 12831248"/>
                <a:gd name="connsiteX0" fmla="*/ 850251 w 2983984"/>
                <a:gd name="connsiteY0" fmla="*/ 0 h 12831248"/>
                <a:gd name="connsiteX1" fmla="*/ 894147 w 2983984"/>
                <a:gd name="connsiteY1" fmla="*/ 0 h 12831248"/>
                <a:gd name="connsiteX2" fmla="*/ 1131658 w 2983984"/>
                <a:gd name="connsiteY2" fmla="*/ 82688 h 12831248"/>
                <a:gd name="connsiteX3" fmla="*/ 1288318 w 2983984"/>
                <a:gd name="connsiteY3" fmla="*/ 245308 h 12831248"/>
                <a:gd name="connsiteX4" fmla="*/ 1128293 w 2983984"/>
                <a:gd name="connsiteY4" fmla="*/ 625254 h 12831248"/>
                <a:gd name="connsiteX5" fmla="*/ 2982708 w 2983984"/>
                <a:gd name="connsiteY5" fmla="*/ 2177376 h 12831248"/>
                <a:gd name="connsiteX6" fmla="*/ 68827 w 2983984"/>
                <a:gd name="connsiteY6" fmla="*/ 6155384 h 12831248"/>
                <a:gd name="connsiteX7" fmla="*/ 1261433 w 2983984"/>
                <a:gd name="connsiteY7" fmla="*/ 12831248 h 12831248"/>
                <a:gd name="connsiteX8" fmla="*/ 1008437 w 2983984"/>
                <a:gd name="connsiteY8" fmla="*/ 12815206 h 12831248"/>
                <a:gd name="connsiteX9" fmla="*/ 1006386 w 2983984"/>
                <a:gd name="connsiteY9" fmla="*/ 12830177 h 12831248"/>
                <a:gd name="connsiteX10" fmla="*/ 14265 w 2983984"/>
                <a:gd name="connsiteY10" fmla="*/ 5958051 h 12831248"/>
                <a:gd name="connsiteX11" fmla="*/ 2958803 w 2983984"/>
                <a:gd name="connsiteY11" fmla="*/ 2177375 h 12831248"/>
                <a:gd name="connsiteX12" fmla="*/ 1114895 w 2983984"/>
                <a:gd name="connsiteY12" fmla="*/ 624728 h 12831248"/>
                <a:gd name="connsiteX13" fmla="*/ 1256784 w 2983984"/>
                <a:gd name="connsiteY13" fmla="*/ 245307 h 12831248"/>
                <a:gd name="connsiteX14" fmla="*/ 850251 w 2983984"/>
                <a:gd name="connsiteY14" fmla="*/ 0 h 12831248"/>
                <a:gd name="connsiteX0" fmla="*/ 850251 w 2983984"/>
                <a:gd name="connsiteY0" fmla="*/ 0 h 12830177"/>
                <a:gd name="connsiteX1" fmla="*/ 894147 w 2983984"/>
                <a:gd name="connsiteY1" fmla="*/ 0 h 12830177"/>
                <a:gd name="connsiteX2" fmla="*/ 1131658 w 2983984"/>
                <a:gd name="connsiteY2" fmla="*/ 82688 h 12830177"/>
                <a:gd name="connsiteX3" fmla="*/ 1288318 w 2983984"/>
                <a:gd name="connsiteY3" fmla="*/ 245308 h 12830177"/>
                <a:gd name="connsiteX4" fmla="*/ 1128293 w 2983984"/>
                <a:gd name="connsiteY4" fmla="*/ 625254 h 12830177"/>
                <a:gd name="connsiteX5" fmla="*/ 2982708 w 2983984"/>
                <a:gd name="connsiteY5" fmla="*/ 2177376 h 12830177"/>
                <a:gd name="connsiteX6" fmla="*/ 68827 w 2983984"/>
                <a:gd name="connsiteY6" fmla="*/ 6155384 h 12830177"/>
                <a:gd name="connsiteX7" fmla="*/ 1197264 w 2983984"/>
                <a:gd name="connsiteY7" fmla="*/ 12815206 h 12830177"/>
                <a:gd name="connsiteX8" fmla="*/ 1008437 w 2983984"/>
                <a:gd name="connsiteY8" fmla="*/ 12815206 h 12830177"/>
                <a:gd name="connsiteX9" fmla="*/ 1006386 w 2983984"/>
                <a:gd name="connsiteY9" fmla="*/ 12830177 h 12830177"/>
                <a:gd name="connsiteX10" fmla="*/ 14265 w 2983984"/>
                <a:gd name="connsiteY10" fmla="*/ 5958051 h 12830177"/>
                <a:gd name="connsiteX11" fmla="*/ 2958803 w 2983984"/>
                <a:gd name="connsiteY11" fmla="*/ 2177375 h 12830177"/>
                <a:gd name="connsiteX12" fmla="*/ 1114895 w 2983984"/>
                <a:gd name="connsiteY12" fmla="*/ 624728 h 12830177"/>
                <a:gd name="connsiteX13" fmla="*/ 1256784 w 2983984"/>
                <a:gd name="connsiteY13" fmla="*/ 245307 h 12830177"/>
                <a:gd name="connsiteX14" fmla="*/ 850251 w 2983984"/>
                <a:gd name="connsiteY14" fmla="*/ 0 h 12830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83984" h="12830177">
                  <a:moveTo>
                    <a:pt x="850251" y="0"/>
                  </a:moveTo>
                  <a:lnTo>
                    <a:pt x="894147" y="0"/>
                  </a:lnTo>
                  <a:cubicBezTo>
                    <a:pt x="969096" y="26220"/>
                    <a:pt x="1052300" y="56808"/>
                    <a:pt x="1131658" y="82688"/>
                  </a:cubicBezTo>
                  <a:cubicBezTo>
                    <a:pt x="1216589" y="126854"/>
                    <a:pt x="1263477" y="163525"/>
                    <a:pt x="1288318" y="245308"/>
                  </a:cubicBezTo>
                  <a:cubicBezTo>
                    <a:pt x="1276446" y="363513"/>
                    <a:pt x="1094461" y="401819"/>
                    <a:pt x="1128293" y="625254"/>
                  </a:cubicBezTo>
                  <a:cubicBezTo>
                    <a:pt x="1227579" y="1039465"/>
                    <a:pt x="3038812" y="1581405"/>
                    <a:pt x="2982708" y="2177376"/>
                  </a:cubicBezTo>
                  <a:cubicBezTo>
                    <a:pt x="2881740" y="2710561"/>
                    <a:pt x="155204" y="4027990"/>
                    <a:pt x="68827" y="6155384"/>
                  </a:cubicBezTo>
                  <a:cubicBezTo>
                    <a:pt x="67600" y="8041520"/>
                    <a:pt x="695375" y="10537972"/>
                    <a:pt x="1197264" y="12815206"/>
                  </a:cubicBezTo>
                  <a:lnTo>
                    <a:pt x="1008437" y="12815206"/>
                  </a:lnTo>
                  <a:lnTo>
                    <a:pt x="1006386" y="12830177"/>
                  </a:lnTo>
                  <a:cubicBezTo>
                    <a:pt x="606163" y="10657110"/>
                    <a:pt x="-109889" y="7946857"/>
                    <a:pt x="14265" y="5958051"/>
                  </a:cubicBezTo>
                  <a:cubicBezTo>
                    <a:pt x="367128" y="3846423"/>
                    <a:pt x="2853590" y="2710560"/>
                    <a:pt x="2958803" y="2177375"/>
                  </a:cubicBezTo>
                  <a:cubicBezTo>
                    <a:pt x="3017267" y="1581404"/>
                    <a:pt x="1218356" y="1038939"/>
                    <a:pt x="1114895" y="624728"/>
                  </a:cubicBezTo>
                  <a:cubicBezTo>
                    <a:pt x="1079641" y="401293"/>
                    <a:pt x="1244413" y="363512"/>
                    <a:pt x="1256784" y="245307"/>
                  </a:cubicBezTo>
                  <a:cubicBezTo>
                    <a:pt x="1252977" y="125305"/>
                    <a:pt x="1045765" y="58061"/>
                    <a:pt x="850251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285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5" name="Digi Line">
            <a:extLst>
              <a:ext uri="{FF2B5EF4-FFF2-40B4-BE49-F238E27FC236}">
                <a16:creationId xmlns:a16="http://schemas.microsoft.com/office/drawing/2014/main" id="{159CBC98-4CEC-4F41-9882-4725200E1385}"/>
              </a:ext>
            </a:extLst>
          </p:cNvPr>
          <p:cNvSpPr/>
          <p:nvPr/>
        </p:nvSpPr>
        <p:spPr bwMode="gray">
          <a:xfrm flipH="1">
            <a:off x="5112036" y="3261672"/>
            <a:ext cx="3717635" cy="348247"/>
          </a:xfrm>
          <a:custGeom>
            <a:avLst/>
            <a:gdLst>
              <a:gd name="connsiteX0" fmla="*/ 4214949 w 4214949"/>
              <a:gd name="connsiteY0" fmla="*/ 409303 h 409303"/>
              <a:gd name="connsiteX1" fmla="*/ 4214949 w 4214949"/>
              <a:gd name="connsiteY1" fmla="*/ 0 h 409303"/>
              <a:gd name="connsiteX2" fmla="*/ 0 w 4214949"/>
              <a:gd name="connsiteY2" fmla="*/ 0 h 409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14949" h="409303">
                <a:moveTo>
                  <a:pt x="4214949" y="409303"/>
                </a:moveTo>
                <a:lnTo>
                  <a:pt x="4214949" y="0"/>
                </a:lnTo>
                <a:lnTo>
                  <a:pt x="0" y="0"/>
                </a:lnTo>
              </a:path>
            </a:pathLst>
          </a:custGeom>
          <a:noFill/>
          <a:ln w="9525" cap="flat" cmpd="sng" algn="ctr">
            <a:solidFill>
              <a:schemeClr val="bg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Digi Line">
            <a:extLst>
              <a:ext uri="{FF2B5EF4-FFF2-40B4-BE49-F238E27FC236}">
                <a16:creationId xmlns:a16="http://schemas.microsoft.com/office/drawing/2014/main" id="{A2114E6C-4E29-1E47-8E62-0DEB35A8E856}"/>
              </a:ext>
            </a:extLst>
          </p:cNvPr>
          <p:cNvSpPr/>
          <p:nvPr/>
        </p:nvSpPr>
        <p:spPr bwMode="gray">
          <a:xfrm>
            <a:off x="291843" y="4220193"/>
            <a:ext cx="3978993" cy="309600"/>
          </a:xfrm>
          <a:custGeom>
            <a:avLst/>
            <a:gdLst>
              <a:gd name="connsiteX0" fmla="*/ 4214949 w 4214949"/>
              <a:gd name="connsiteY0" fmla="*/ 409303 h 409303"/>
              <a:gd name="connsiteX1" fmla="*/ 4214949 w 4214949"/>
              <a:gd name="connsiteY1" fmla="*/ 0 h 409303"/>
              <a:gd name="connsiteX2" fmla="*/ 0 w 4214949"/>
              <a:gd name="connsiteY2" fmla="*/ 0 h 409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14949" h="409303">
                <a:moveTo>
                  <a:pt x="4214949" y="409303"/>
                </a:moveTo>
                <a:lnTo>
                  <a:pt x="4214949" y="0"/>
                </a:lnTo>
                <a:lnTo>
                  <a:pt x="0" y="0"/>
                </a:lnTo>
              </a:path>
            </a:pathLst>
          </a:custGeom>
          <a:noFill/>
          <a:ln w="9525" cap="flat" cmpd="sng" algn="ctr">
            <a:solidFill>
              <a:schemeClr val="bg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4BA6AB61-BF7F-F448-984D-DD01FDB410A0}"/>
              </a:ext>
            </a:extLst>
          </p:cNvPr>
          <p:cNvSpPr/>
          <p:nvPr/>
        </p:nvSpPr>
        <p:spPr bwMode="gray">
          <a:xfrm>
            <a:off x="291843" y="3687874"/>
            <a:ext cx="199817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832"/>
              </a:spcBef>
            </a:pPr>
            <a:r>
              <a:rPr lang="en-GB" sz="1400" dirty="0">
                <a:latin typeface="Avenir Book" panose="02000503020000020003" pitchFamily="2" charset="0"/>
                <a:cs typeface="Calibri" panose="020F0502020204030204" pitchFamily="34" charset="0"/>
              </a:rPr>
              <a:t>Research on State of the art (SOTA) approaches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504401F5-53C2-C249-AAA0-4667633FED5B}"/>
              </a:ext>
            </a:extLst>
          </p:cNvPr>
          <p:cNvSpPr txBox="1"/>
          <p:nvPr/>
        </p:nvSpPr>
        <p:spPr bwMode="gray">
          <a:xfrm>
            <a:off x="291843" y="4277883"/>
            <a:ext cx="1998174" cy="16927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>
              <a:spcBef>
                <a:spcPts val="2400"/>
              </a:spcBef>
              <a:spcAft>
                <a:spcPts val="0"/>
              </a:spcAft>
              <a:defRPr sz="1200" b="0" kern="0">
                <a:solidFill>
                  <a:schemeClr val="accent1"/>
                </a:solidFill>
                <a:latin typeface="Arial"/>
              </a:defRPr>
            </a:lvl1pPr>
          </a:lstStyle>
          <a:p>
            <a:pPr lvl="0">
              <a:defRPr/>
            </a:pPr>
            <a:r>
              <a:rPr lang="en-GB" sz="1100" i="1" dirty="0">
                <a:solidFill>
                  <a:srgbClr val="0070C0"/>
                </a:solidFill>
                <a:latin typeface="Avenir Book" panose="02000503020000020003" pitchFamily="2" charset="0"/>
                <a:cs typeface="Calibri" panose="020F0502020204030204" pitchFamily="34" charset="0"/>
              </a:rPr>
              <a:t>July 2023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E37EFBF8-1215-7548-B20F-89964066B788}"/>
              </a:ext>
            </a:extLst>
          </p:cNvPr>
          <p:cNvSpPr/>
          <p:nvPr/>
        </p:nvSpPr>
        <p:spPr bwMode="gray">
          <a:xfrm>
            <a:off x="6519033" y="2748214"/>
            <a:ext cx="2310638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r">
              <a:spcBef>
                <a:spcPts val="832"/>
              </a:spcBef>
            </a:pPr>
            <a:r>
              <a:rPr lang="en-GB" sz="1400" dirty="0">
                <a:latin typeface="Avenir Book" panose="02000503020000020003" pitchFamily="2" charset="0"/>
                <a:cs typeface="Calibri" panose="020F0502020204030204" pitchFamily="34" charset="0"/>
              </a:rPr>
              <a:t>First Implementation: SOTA model with XAI Flavour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B51C07E3-EB65-9F44-96A4-7992C03EB7B6}"/>
              </a:ext>
            </a:extLst>
          </p:cNvPr>
          <p:cNvSpPr txBox="1"/>
          <p:nvPr/>
        </p:nvSpPr>
        <p:spPr bwMode="gray">
          <a:xfrm>
            <a:off x="6861219" y="3326934"/>
            <a:ext cx="1278913" cy="16927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>
              <a:spcBef>
                <a:spcPts val="2400"/>
              </a:spcBef>
              <a:spcAft>
                <a:spcPts val="0"/>
              </a:spcAft>
              <a:defRPr sz="1200" b="0" kern="0">
                <a:solidFill>
                  <a:schemeClr val="accent1"/>
                </a:solidFill>
                <a:latin typeface="Arial"/>
              </a:defRPr>
            </a:lvl1pPr>
          </a:lstStyle>
          <a:p>
            <a:pPr lvl="0" algn="r">
              <a:defRPr/>
            </a:pPr>
            <a:r>
              <a:rPr lang="en-GB" sz="1100" i="1" dirty="0">
                <a:solidFill>
                  <a:srgbClr val="0070C0"/>
                </a:solidFill>
                <a:latin typeface="Avenir Book" panose="02000503020000020003" pitchFamily="2" charset="0"/>
                <a:cs typeface="Calibri" panose="020F0502020204030204" pitchFamily="34" charset="0"/>
              </a:rPr>
              <a:t>August 2023</a:t>
            </a:r>
          </a:p>
        </p:txBody>
      </p:sp>
      <p:sp>
        <p:nvSpPr>
          <p:cNvPr id="74" name="Digi Line">
            <a:extLst>
              <a:ext uri="{FF2B5EF4-FFF2-40B4-BE49-F238E27FC236}">
                <a16:creationId xmlns:a16="http://schemas.microsoft.com/office/drawing/2014/main" id="{29FFEEBD-008F-DC4D-83BF-B883EC5E9A0C}"/>
              </a:ext>
            </a:extLst>
          </p:cNvPr>
          <p:cNvSpPr/>
          <p:nvPr/>
        </p:nvSpPr>
        <p:spPr bwMode="gray">
          <a:xfrm>
            <a:off x="309562" y="2752460"/>
            <a:ext cx="3650370" cy="275838"/>
          </a:xfrm>
          <a:custGeom>
            <a:avLst/>
            <a:gdLst>
              <a:gd name="connsiteX0" fmla="*/ 4214949 w 4214949"/>
              <a:gd name="connsiteY0" fmla="*/ 409303 h 409303"/>
              <a:gd name="connsiteX1" fmla="*/ 4214949 w 4214949"/>
              <a:gd name="connsiteY1" fmla="*/ 0 h 409303"/>
              <a:gd name="connsiteX2" fmla="*/ 0 w 4214949"/>
              <a:gd name="connsiteY2" fmla="*/ 0 h 409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14949" h="409303">
                <a:moveTo>
                  <a:pt x="4214949" y="409303"/>
                </a:moveTo>
                <a:lnTo>
                  <a:pt x="4214949" y="0"/>
                </a:lnTo>
                <a:lnTo>
                  <a:pt x="0" y="0"/>
                </a:lnTo>
              </a:path>
            </a:pathLst>
          </a:custGeom>
          <a:noFill/>
          <a:ln w="9525" cap="flat" cmpd="sng" algn="ctr">
            <a:solidFill>
              <a:schemeClr val="bg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E2B8E54C-CCF0-2143-AE01-37A3DBED6FE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778272" y="3003862"/>
            <a:ext cx="360000" cy="576000"/>
            <a:chOff x="3628387" y="5002557"/>
            <a:chExt cx="497665" cy="796061"/>
          </a:xfrm>
        </p:grpSpPr>
        <p:sp>
          <p:nvSpPr>
            <p:cNvPr id="76" name="Heart 240">
              <a:extLst>
                <a:ext uri="{FF2B5EF4-FFF2-40B4-BE49-F238E27FC236}">
                  <a16:creationId xmlns:a16="http://schemas.microsoft.com/office/drawing/2014/main" id="{94E0904F-FCC4-4E49-BAF5-2344325E5424}"/>
                </a:ext>
              </a:extLst>
            </p:cNvPr>
            <p:cNvSpPr/>
            <p:nvPr/>
          </p:nvSpPr>
          <p:spPr bwMode="gray">
            <a:xfrm>
              <a:off x="3628387" y="5002557"/>
              <a:ext cx="497665" cy="796061"/>
            </a:xfrm>
            <a:custGeom>
              <a:avLst/>
              <a:gdLst/>
              <a:ahLst/>
              <a:cxnLst/>
              <a:rect l="l" t="t" r="r" b="b"/>
              <a:pathLst>
                <a:path w="383588" h="613585">
                  <a:moveTo>
                    <a:pt x="191794" y="0"/>
                  </a:moveTo>
                  <a:cubicBezTo>
                    <a:pt x="250212" y="0"/>
                    <a:pt x="302489" y="26572"/>
                    <a:pt x="335563" y="69971"/>
                  </a:cubicBezTo>
                  <a:cubicBezTo>
                    <a:pt x="355020" y="85873"/>
                    <a:pt x="370245" y="113964"/>
                    <a:pt x="377644" y="151169"/>
                  </a:cubicBezTo>
                  <a:cubicBezTo>
                    <a:pt x="378084" y="152057"/>
                    <a:pt x="378281" y="152998"/>
                    <a:pt x="378447" y="153946"/>
                  </a:cubicBezTo>
                  <a:cubicBezTo>
                    <a:pt x="398834" y="256469"/>
                    <a:pt x="362937" y="425848"/>
                    <a:pt x="191794" y="613585"/>
                  </a:cubicBezTo>
                  <a:cubicBezTo>
                    <a:pt x="20651" y="425848"/>
                    <a:pt x="-15246" y="256469"/>
                    <a:pt x="5141" y="153946"/>
                  </a:cubicBezTo>
                  <a:cubicBezTo>
                    <a:pt x="5308" y="152998"/>
                    <a:pt x="5504" y="152057"/>
                    <a:pt x="5945" y="151169"/>
                  </a:cubicBezTo>
                  <a:cubicBezTo>
                    <a:pt x="13343" y="113964"/>
                    <a:pt x="28569" y="85873"/>
                    <a:pt x="48025" y="69971"/>
                  </a:cubicBezTo>
                  <a:cubicBezTo>
                    <a:pt x="81100" y="26572"/>
                    <a:pt x="133376" y="0"/>
                    <a:pt x="191794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solidFill>
                <a:schemeClr val="bg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dirty="0">
                <a:ln>
                  <a:noFill/>
                </a:ln>
                <a:solidFill>
                  <a:srgbClr val="DA182A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CFB1274C-505C-5947-A731-6D4B4CA9030B}"/>
                </a:ext>
              </a:extLst>
            </p:cNvPr>
            <p:cNvSpPr/>
            <p:nvPr/>
          </p:nvSpPr>
          <p:spPr bwMode="gray">
            <a:xfrm>
              <a:off x="3750725" y="5154301"/>
              <a:ext cx="259483" cy="259483"/>
            </a:xfrm>
            <a:prstGeom prst="ellipse">
              <a:avLst/>
            </a:prstGeom>
            <a:solidFill>
              <a:schemeClr val="bg2"/>
            </a:solidFill>
            <a:ln w="9525" cap="flat" cmpd="sng" algn="ctr">
              <a:solidFill>
                <a:schemeClr val="bg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dirty="0">
                <a:ln>
                  <a:noFill/>
                </a:ln>
                <a:solidFill>
                  <a:srgbClr val="DA182A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8" name="Rectangle 77">
            <a:extLst>
              <a:ext uri="{FF2B5EF4-FFF2-40B4-BE49-F238E27FC236}">
                <a16:creationId xmlns:a16="http://schemas.microsoft.com/office/drawing/2014/main" id="{66119F4E-D026-C44D-9C48-BE52B4CB98CE}"/>
              </a:ext>
            </a:extLst>
          </p:cNvPr>
          <p:cNvSpPr/>
          <p:nvPr/>
        </p:nvSpPr>
        <p:spPr bwMode="gray">
          <a:xfrm>
            <a:off x="291843" y="2321573"/>
            <a:ext cx="3574926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832"/>
              </a:spcBef>
            </a:pPr>
            <a:r>
              <a:rPr lang="en-GB" sz="1400" dirty="0">
                <a:latin typeface="Avenir Book" panose="02000503020000020003" pitchFamily="2" charset="0"/>
                <a:cs typeface="Calibri" panose="020F0502020204030204" pitchFamily="34" charset="0"/>
              </a:rPr>
              <a:t>Interim goal: outperforming classical strategies (Pairs trading) with DNN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81BC9A07-A5CC-F749-B9FC-89760B4E8EEC}"/>
              </a:ext>
            </a:extLst>
          </p:cNvPr>
          <p:cNvSpPr txBox="1"/>
          <p:nvPr/>
        </p:nvSpPr>
        <p:spPr bwMode="gray">
          <a:xfrm>
            <a:off x="291844" y="2810150"/>
            <a:ext cx="1998174" cy="16927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>
              <a:spcBef>
                <a:spcPts val="2400"/>
              </a:spcBef>
              <a:spcAft>
                <a:spcPts val="0"/>
              </a:spcAft>
              <a:defRPr sz="1200" b="0" kern="0">
                <a:solidFill>
                  <a:schemeClr val="accent1"/>
                </a:solidFill>
                <a:latin typeface="Arial"/>
              </a:defRPr>
            </a:lvl1pPr>
          </a:lstStyle>
          <a:p>
            <a:pPr lvl="0">
              <a:defRPr/>
            </a:pPr>
            <a:r>
              <a:rPr lang="en-GB" sz="1100" i="1" dirty="0">
                <a:solidFill>
                  <a:srgbClr val="0070C0"/>
                </a:solidFill>
                <a:latin typeface="Avenir Book" panose="02000503020000020003" pitchFamily="2" charset="0"/>
                <a:cs typeface="Calibri" panose="020F0502020204030204" pitchFamily="34" charset="0"/>
              </a:rPr>
              <a:t>August 2023</a:t>
            </a:r>
          </a:p>
        </p:txBody>
      </p:sp>
      <p:sp>
        <p:nvSpPr>
          <p:cNvPr id="80" name="Digi Line">
            <a:extLst>
              <a:ext uri="{FF2B5EF4-FFF2-40B4-BE49-F238E27FC236}">
                <a16:creationId xmlns:a16="http://schemas.microsoft.com/office/drawing/2014/main" id="{67CDD35B-F7F4-9643-8841-B2D7C0EDA51C}"/>
              </a:ext>
            </a:extLst>
          </p:cNvPr>
          <p:cNvSpPr/>
          <p:nvPr/>
        </p:nvSpPr>
        <p:spPr bwMode="gray">
          <a:xfrm flipH="1">
            <a:off x="4932039" y="1798420"/>
            <a:ext cx="3897633" cy="325270"/>
          </a:xfrm>
          <a:custGeom>
            <a:avLst/>
            <a:gdLst>
              <a:gd name="connsiteX0" fmla="*/ 4214949 w 4214949"/>
              <a:gd name="connsiteY0" fmla="*/ 409303 h 409303"/>
              <a:gd name="connsiteX1" fmla="*/ 4214949 w 4214949"/>
              <a:gd name="connsiteY1" fmla="*/ 0 h 409303"/>
              <a:gd name="connsiteX2" fmla="*/ 0 w 4214949"/>
              <a:gd name="connsiteY2" fmla="*/ 0 h 409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14949" h="409303">
                <a:moveTo>
                  <a:pt x="4214949" y="409303"/>
                </a:moveTo>
                <a:lnTo>
                  <a:pt x="4214949" y="0"/>
                </a:lnTo>
                <a:lnTo>
                  <a:pt x="0" y="0"/>
                </a:lnTo>
              </a:path>
            </a:pathLst>
          </a:custGeom>
          <a:noFill/>
          <a:ln w="9525" cap="flat" cmpd="sng" algn="ctr">
            <a:solidFill>
              <a:schemeClr val="bg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4CDA7FFE-2F09-5A40-93BB-D5748B1A7E7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752037" y="2103762"/>
            <a:ext cx="360000" cy="576000"/>
            <a:chOff x="3685425" y="5093795"/>
            <a:chExt cx="383588" cy="613585"/>
          </a:xfrm>
        </p:grpSpPr>
        <p:sp>
          <p:nvSpPr>
            <p:cNvPr id="82" name="Heart 240">
              <a:extLst>
                <a:ext uri="{FF2B5EF4-FFF2-40B4-BE49-F238E27FC236}">
                  <a16:creationId xmlns:a16="http://schemas.microsoft.com/office/drawing/2014/main" id="{D7E9B804-DD2E-E345-BFEB-69744DD3A355}"/>
                </a:ext>
              </a:extLst>
            </p:cNvPr>
            <p:cNvSpPr/>
            <p:nvPr/>
          </p:nvSpPr>
          <p:spPr bwMode="gray">
            <a:xfrm>
              <a:off x="3685425" y="5093795"/>
              <a:ext cx="383588" cy="613585"/>
            </a:xfrm>
            <a:custGeom>
              <a:avLst/>
              <a:gdLst/>
              <a:ahLst/>
              <a:cxnLst/>
              <a:rect l="l" t="t" r="r" b="b"/>
              <a:pathLst>
                <a:path w="383588" h="613585">
                  <a:moveTo>
                    <a:pt x="191794" y="0"/>
                  </a:moveTo>
                  <a:cubicBezTo>
                    <a:pt x="250212" y="0"/>
                    <a:pt x="302489" y="26572"/>
                    <a:pt x="335563" y="69971"/>
                  </a:cubicBezTo>
                  <a:cubicBezTo>
                    <a:pt x="355020" y="85873"/>
                    <a:pt x="370245" y="113964"/>
                    <a:pt x="377644" y="151169"/>
                  </a:cubicBezTo>
                  <a:cubicBezTo>
                    <a:pt x="378084" y="152057"/>
                    <a:pt x="378281" y="152998"/>
                    <a:pt x="378447" y="153946"/>
                  </a:cubicBezTo>
                  <a:cubicBezTo>
                    <a:pt x="398834" y="256469"/>
                    <a:pt x="362937" y="425848"/>
                    <a:pt x="191794" y="613585"/>
                  </a:cubicBezTo>
                  <a:cubicBezTo>
                    <a:pt x="20651" y="425848"/>
                    <a:pt x="-15246" y="256469"/>
                    <a:pt x="5141" y="153946"/>
                  </a:cubicBezTo>
                  <a:cubicBezTo>
                    <a:pt x="5308" y="152998"/>
                    <a:pt x="5504" y="152057"/>
                    <a:pt x="5945" y="151169"/>
                  </a:cubicBezTo>
                  <a:cubicBezTo>
                    <a:pt x="13343" y="113964"/>
                    <a:pt x="28569" y="85873"/>
                    <a:pt x="48025" y="69971"/>
                  </a:cubicBezTo>
                  <a:cubicBezTo>
                    <a:pt x="81100" y="26572"/>
                    <a:pt x="133376" y="0"/>
                    <a:pt x="191794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solidFill>
                <a:schemeClr val="bg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dirty="0">
                <a:ln>
                  <a:noFill/>
                </a:ln>
                <a:solidFill>
                  <a:srgbClr val="DA182A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0EB8D1A8-08A5-694A-99EE-32AEF58D24BB}"/>
                </a:ext>
              </a:extLst>
            </p:cNvPr>
            <p:cNvSpPr/>
            <p:nvPr/>
          </p:nvSpPr>
          <p:spPr bwMode="gray">
            <a:xfrm>
              <a:off x="3780462" y="5184043"/>
              <a:ext cx="200004" cy="200004"/>
            </a:xfrm>
            <a:prstGeom prst="ellipse">
              <a:avLst/>
            </a:prstGeom>
            <a:solidFill>
              <a:schemeClr val="bg2"/>
            </a:solidFill>
            <a:ln w="9525" cap="flat" cmpd="sng" algn="ctr">
              <a:solidFill>
                <a:schemeClr val="bg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dirty="0">
                <a:ln>
                  <a:noFill/>
                </a:ln>
                <a:solidFill>
                  <a:srgbClr val="DA182A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84" name="Rectangle 83">
            <a:extLst>
              <a:ext uri="{FF2B5EF4-FFF2-40B4-BE49-F238E27FC236}">
                <a16:creationId xmlns:a16="http://schemas.microsoft.com/office/drawing/2014/main" id="{ED45CF19-5DE7-5F44-BABC-DDB8D83D5892}"/>
              </a:ext>
            </a:extLst>
          </p:cNvPr>
          <p:cNvSpPr/>
          <p:nvPr/>
        </p:nvSpPr>
        <p:spPr bwMode="gray">
          <a:xfrm>
            <a:off x="5663918" y="1327371"/>
            <a:ext cx="3165756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r">
              <a:spcBef>
                <a:spcPts val="832"/>
              </a:spcBef>
            </a:pPr>
            <a:r>
              <a:rPr lang="en-GB" sz="1400" dirty="0">
                <a:latin typeface="Avenir Book" panose="02000503020000020003" pitchFamily="2" charset="0"/>
                <a:cs typeface="Calibri" panose="020F0502020204030204" pitchFamily="34" charset="0"/>
              </a:rPr>
              <a:t>Training Model with obscene amount of data: does clustering reduce the noise?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CD43D88E-67E6-9844-8163-809834E90F2C}"/>
              </a:ext>
            </a:extLst>
          </p:cNvPr>
          <p:cNvSpPr txBox="1"/>
          <p:nvPr/>
        </p:nvSpPr>
        <p:spPr bwMode="gray">
          <a:xfrm>
            <a:off x="6831500" y="1851937"/>
            <a:ext cx="1998174" cy="16927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>
              <a:spcBef>
                <a:spcPts val="2400"/>
              </a:spcBef>
              <a:spcAft>
                <a:spcPts val="0"/>
              </a:spcAft>
              <a:defRPr sz="1200" b="0" kern="0">
                <a:solidFill>
                  <a:schemeClr val="accent1"/>
                </a:solidFill>
                <a:latin typeface="Arial"/>
              </a:defRPr>
            </a:lvl1pPr>
          </a:lstStyle>
          <a:p>
            <a:pPr lvl="0" algn="r">
              <a:defRPr/>
            </a:pPr>
            <a:r>
              <a:rPr lang="en-GB" sz="1100" i="1" dirty="0">
                <a:solidFill>
                  <a:srgbClr val="0070C0"/>
                </a:solidFill>
                <a:latin typeface="Avenir Book" panose="02000503020000020003" pitchFamily="2" charset="0"/>
                <a:cs typeface="Calibri" panose="020F0502020204030204" pitchFamily="34" charset="0"/>
              </a:rPr>
              <a:t>September 2023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EED634DD-C869-034B-959D-A9711AA06A27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089662" y="4521429"/>
            <a:ext cx="360000" cy="576000"/>
            <a:chOff x="3628387" y="5002557"/>
            <a:chExt cx="497665" cy="796061"/>
          </a:xfrm>
        </p:grpSpPr>
        <p:sp>
          <p:nvSpPr>
            <p:cNvPr id="87" name="Heart 240">
              <a:extLst>
                <a:ext uri="{FF2B5EF4-FFF2-40B4-BE49-F238E27FC236}">
                  <a16:creationId xmlns:a16="http://schemas.microsoft.com/office/drawing/2014/main" id="{53C37738-D786-484E-8150-0076814FD453}"/>
                </a:ext>
              </a:extLst>
            </p:cNvPr>
            <p:cNvSpPr/>
            <p:nvPr/>
          </p:nvSpPr>
          <p:spPr bwMode="gray">
            <a:xfrm>
              <a:off x="3628387" y="5002557"/>
              <a:ext cx="497665" cy="796061"/>
            </a:xfrm>
            <a:custGeom>
              <a:avLst/>
              <a:gdLst/>
              <a:ahLst/>
              <a:cxnLst/>
              <a:rect l="l" t="t" r="r" b="b"/>
              <a:pathLst>
                <a:path w="383588" h="613585">
                  <a:moveTo>
                    <a:pt x="191794" y="0"/>
                  </a:moveTo>
                  <a:cubicBezTo>
                    <a:pt x="250212" y="0"/>
                    <a:pt x="302489" y="26572"/>
                    <a:pt x="335563" y="69971"/>
                  </a:cubicBezTo>
                  <a:cubicBezTo>
                    <a:pt x="355020" y="85873"/>
                    <a:pt x="370245" y="113964"/>
                    <a:pt x="377644" y="151169"/>
                  </a:cubicBezTo>
                  <a:cubicBezTo>
                    <a:pt x="378084" y="152057"/>
                    <a:pt x="378281" y="152998"/>
                    <a:pt x="378447" y="153946"/>
                  </a:cubicBezTo>
                  <a:cubicBezTo>
                    <a:pt x="398834" y="256469"/>
                    <a:pt x="362937" y="425848"/>
                    <a:pt x="191794" y="613585"/>
                  </a:cubicBezTo>
                  <a:cubicBezTo>
                    <a:pt x="20651" y="425848"/>
                    <a:pt x="-15246" y="256469"/>
                    <a:pt x="5141" y="153946"/>
                  </a:cubicBezTo>
                  <a:cubicBezTo>
                    <a:pt x="5308" y="152998"/>
                    <a:pt x="5504" y="152057"/>
                    <a:pt x="5945" y="151169"/>
                  </a:cubicBezTo>
                  <a:cubicBezTo>
                    <a:pt x="13343" y="113964"/>
                    <a:pt x="28569" y="85873"/>
                    <a:pt x="48025" y="69971"/>
                  </a:cubicBezTo>
                  <a:cubicBezTo>
                    <a:pt x="81100" y="26572"/>
                    <a:pt x="133376" y="0"/>
                    <a:pt x="191794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solidFill>
                <a:schemeClr val="bg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dirty="0">
                <a:ln>
                  <a:noFill/>
                </a:ln>
                <a:solidFill>
                  <a:srgbClr val="DA182A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ABAE3D8F-E68F-404B-B6E0-6AF320A331ED}"/>
                </a:ext>
              </a:extLst>
            </p:cNvPr>
            <p:cNvSpPr/>
            <p:nvPr/>
          </p:nvSpPr>
          <p:spPr bwMode="gray">
            <a:xfrm>
              <a:off x="3750725" y="5154301"/>
              <a:ext cx="259483" cy="259483"/>
            </a:xfrm>
            <a:prstGeom prst="ellipse">
              <a:avLst/>
            </a:prstGeom>
            <a:solidFill>
              <a:schemeClr val="bg2"/>
            </a:solidFill>
            <a:ln w="9525" cap="flat" cmpd="sng" algn="ctr">
              <a:solidFill>
                <a:schemeClr val="bg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dirty="0">
                <a:ln>
                  <a:noFill/>
                </a:ln>
                <a:solidFill>
                  <a:srgbClr val="DA182A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158D3796-F7E6-D848-A878-4AE231BB1F8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945917" y="3615930"/>
            <a:ext cx="360000" cy="576000"/>
            <a:chOff x="3685425" y="5093795"/>
            <a:chExt cx="383588" cy="613585"/>
          </a:xfrm>
        </p:grpSpPr>
        <p:sp>
          <p:nvSpPr>
            <p:cNvPr id="90" name="Heart 240">
              <a:extLst>
                <a:ext uri="{FF2B5EF4-FFF2-40B4-BE49-F238E27FC236}">
                  <a16:creationId xmlns:a16="http://schemas.microsoft.com/office/drawing/2014/main" id="{6A456AFF-DA4E-4D48-90A1-F4227A4FC5FD}"/>
                </a:ext>
              </a:extLst>
            </p:cNvPr>
            <p:cNvSpPr/>
            <p:nvPr/>
          </p:nvSpPr>
          <p:spPr bwMode="gray">
            <a:xfrm>
              <a:off x="3685425" y="5093795"/>
              <a:ext cx="383588" cy="613585"/>
            </a:xfrm>
            <a:custGeom>
              <a:avLst/>
              <a:gdLst/>
              <a:ahLst/>
              <a:cxnLst/>
              <a:rect l="l" t="t" r="r" b="b"/>
              <a:pathLst>
                <a:path w="383588" h="613585">
                  <a:moveTo>
                    <a:pt x="191794" y="0"/>
                  </a:moveTo>
                  <a:cubicBezTo>
                    <a:pt x="250212" y="0"/>
                    <a:pt x="302489" y="26572"/>
                    <a:pt x="335563" y="69971"/>
                  </a:cubicBezTo>
                  <a:cubicBezTo>
                    <a:pt x="355020" y="85873"/>
                    <a:pt x="370245" y="113964"/>
                    <a:pt x="377644" y="151169"/>
                  </a:cubicBezTo>
                  <a:cubicBezTo>
                    <a:pt x="378084" y="152057"/>
                    <a:pt x="378281" y="152998"/>
                    <a:pt x="378447" y="153946"/>
                  </a:cubicBezTo>
                  <a:cubicBezTo>
                    <a:pt x="398834" y="256469"/>
                    <a:pt x="362937" y="425848"/>
                    <a:pt x="191794" y="613585"/>
                  </a:cubicBezTo>
                  <a:cubicBezTo>
                    <a:pt x="20651" y="425848"/>
                    <a:pt x="-15246" y="256469"/>
                    <a:pt x="5141" y="153946"/>
                  </a:cubicBezTo>
                  <a:cubicBezTo>
                    <a:pt x="5308" y="152998"/>
                    <a:pt x="5504" y="152057"/>
                    <a:pt x="5945" y="151169"/>
                  </a:cubicBezTo>
                  <a:cubicBezTo>
                    <a:pt x="13343" y="113964"/>
                    <a:pt x="28569" y="85873"/>
                    <a:pt x="48025" y="69971"/>
                  </a:cubicBezTo>
                  <a:cubicBezTo>
                    <a:pt x="81100" y="26572"/>
                    <a:pt x="133376" y="0"/>
                    <a:pt x="191794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solidFill>
                <a:schemeClr val="bg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dirty="0">
                <a:ln>
                  <a:noFill/>
                </a:ln>
                <a:solidFill>
                  <a:srgbClr val="DA182A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29732446-32B5-9543-BC85-A3E3E6657F2A}"/>
                </a:ext>
              </a:extLst>
            </p:cNvPr>
            <p:cNvSpPr/>
            <p:nvPr/>
          </p:nvSpPr>
          <p:spPr bwMode="gray">
            <a:xfrm>
              <a:off x="3780462" y="5184043"/>
              <a:ext cx="200004" cy="200004"/>
            </a:xfrm>
            <a:prstGeom prst="ellipse">
              <a:avLst/>
            </a:prstGeom>
            <a:solidFill>
              <a:schemeClr val="bg2"/>
            </a:solidFill>
            <a:ln w="9525" cap="flat" cmpd="sng" algn="ctr">
              <a:solidFill>
                <a:schemeClr val="bg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dirty="0">
                <a:ln>
                  <a:noFill/>
                </a:ln>
                <a:solidFill>
                  <a:srgbClr val="DA182A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" name="Digi Line">
            <a:extLst>
              <a:ext uri="{FF2B5EF4-FFF2-40B4-BE49-F238E27FC236}">
                <a16:creationId xmlns:a16="http://schemas.microsoft.com/office/drawing/2014/main" id="{20B85860-A899-3841-8D57-14E779CFAD11}"/>
              </a:ext>
            </a:extLst>
          </p:cNvPr>
          <p:cNvSpPr/>
          <p:nvPr/>
        </p:nvSpPr>
        <p:spPr bwMode="gray">
          <a:xfrm>
            <a:off x="309562" y="1384308"/>
            <a:ext cx="3650370" cy="275838"/>
          </a:xfrm>
          <a:custGeom>
            <a:avLst/>
            <a:gdLst>
              <a:gd name="connsiteX0" fmla="*/ 4214949 w 4214949"/>
              <a:gd name="connsiteY0" fmla="*/ 409303 h 409303"/>
              <a:gd name="connsiteX1" fmla="*/ 4214949 w 4214949"/>
              <a:gd name="connsiteY1" fmla="*/ 0 h 409303"/>
              <a:gd name="connsiteX2" fmla="*/ 0 w 4214949"/>
              <a:gd name="connsiteY2" fmla="*/ 0 h 409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14949" h="409303">
                <a:moveTo>
                  <a:pt x="4214949" y="409303"/>
                </a:moveTo>
                <a:lnTo>
                  <a:pt x="4214949" y="0"/>
                </a:lnTo>
                <a:lnTo>
                  <a:pt x="0" y="0"/>
                </a:lnTo>
              </a:path>
            </a:pathLst>
          </a:custGeom>
          <a:noFill/>
          <a:ln w="9525" cap="flat" cmpd="sng" algn="ctr">
            <a:solidFill>
              <a:schemeClr val="bg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5EA2DB2-5167-B8B8-CE1B-8DBF9CCF729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778272" y="1635710"/>
            <a:ext cx="360000" cy="576000"/>
            <a:chOff x="3628387" y="5002557"/>
            <a:chExt cx="497665" cy="796061"/>
          </a:xfrm>
        </p:grpSpPr>
        <p:sp>
          <p:nvSpPr>
            <p:cNvPr id="6" name="Heart 240">
              <a:extLst>
                <a:ext uri="{FF2B5EF4-FFF2-40B4-BE49-F238E27FC236}">
                  <a16:creationId xmlns:a16="http://schemas.microsoft.com/office/drawing/2014/main" id="{D2F74D9C-31D2-1DDE-C744-EDADBAAC9A19}"/>
                </a:ext>
              </a:extLst>
            </p:cNvPr>
            <p:cNvSpPr/>
            <p:nvPr/>
          </p:nvSpPr>
          <p:spPr bwMode="gray">
            <a:xfrm>
              <a:off x="3628387" y="5002557"/>
              <a:ext cx="497665" cy="796061"/>
            </a:xfrm>
            <a:custGeom>
              <a:avLst/>
              <a:gdLst/>
              <a:ahLst/>
              <a:cxnLst/>
              <a:rect l="l" t="t" r="r" b="b"/>
              <a:pathLst>
                <a:path w="383588" h="613585">
                  <a:moveTo>
                    <a:pt x="191794" y="0"/>
                  </a:moveTo>
                  <a:cubicBezTo>
                    <a:pt x="250212" y="0"/>
                    <a:pt x="302489" y="26572"/>
                    <a:pt x="335563" y="69971"/>
                  </a:cubicBezTo>
                  <a:cubicBezTo>
                    <a:pt x="355020" y="85873"/>
                    <a:pt x="370245" y="113964"/>
                    <a:pt x="377644" y="151169"/>
                  </a:cubicBezTo>
                  <a:cubicBezTo>
                    <a:pt x="378084" y="152057"/>
                    <a:pt x="378281" y="152998"/>
                    <a:pt x="378447" y="153946"/>
                  </a:cubicBezTo>
                  <a:cubicBezTo>
                    <a:pt x="398834" y="256469"/>
                    <a:pt x="362937" y="425848"/>
                    <a:pt x="191794" y="613585"/>
                  </a:cubicBezTo>
                  <a:cubicBezTo>
                    <a:pt x="20651" y="425848"/>
                    <a:pt x="-15246" y="256469"/>
                    <a:pt x="5141" y="153946"/>
                  </a:cubicBezTo>
                  <a:cubicBezTo>
                    <a:pt x="5308" y="152998"/>
                    <a:pt x="5504" y="152057"/>
                    <a:pt x="5945" y="151169"/>
                  </a:cubicBezTo>
                  <a:cubicBezTo>
                    <a:pt x="13343" y="113964"/>
                    <a:pt x="28569" y="85873"/>
                    <a:pt x="48025" y="69971"/>
                  </a:cubicBezTo>
                  <a:cubicBezTo>
                    <a:pt x="81100" y="26572"/>
                    <a:pt x="133376" y="0"/>
                    <a:pt x="191794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solidFill>
                <a:schemeClr val="bg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dirty="0">
                <a:ln>
                  <a:noFill/>
                </a:ln>
                <a:solidFill>
                  <a:srgbClr val="DA182A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8434F80-262D-F39C-F3D3-0B7840D75CDC}"/>
                </a:ext>
              </a:extLst>
            </p:cNvPr>
            <p:cNvSpPr/>
            <p:nvPr/>
          </p:nvSpPr>
          <p:spPr bwMode="gray">
            <a:xfrm>
              <a:off x="3750725" y="5154301"/>
              <a:ext cx="259483" cy="259483"/>
            </a:xfrm>
            <a:prstGeom prst="ellipse">
              <a:avLst/>
            </a:prstGeom>
            <a:solidFill>
              <a:schemeClr val="bg2"/>
            </a:solidFill>
            <a:ln w="9525" cap="flat" cmpd="sng" algn="ctr">
              <a:solidFill>
                <a:schemeClr val="bg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dirty="0">
                <a:ln>
                  <a:noFill/>
                </a:ln>
                <a:solidFill>
                  <a:srgbClr val="DA182A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FF04C6E6-7244-F20D-BCDD-F08F3AAE94EA}"/>
              </a:ext>
            </a:extLst>
          </p:cNvPr>
          <p:cNvSpPr/>
          <p:nvPr/>
        </p:nvSpPr>
        <p:spPr bwMode="gray">
          <a:xfrm>
            <a:off x="291843" y="1134775"/>
            <a:ext cx="333908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832"/>
              </a:spcBef>
            </a:pPr>
            <a:r>
              <a:rPr lang="en-GB" sz="1400" dirty="0">
                <a:latin typeface="Avenir Book" panose="02000503020000020003" pitchFamily="2" charset="0"/>
                <a:cs typeface="Calibri" panose="020F0502020204030204" pitchFamily="34" charset="0"/>
              </a:rPr>
              <a:t>Final Model and report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B687E12A-455B-4F87-5003-E6F1C736B0BE}"/>
              </a:ext>
            </a:extLst>
          </p:cNvPr>
          <p:cNvSpPr>
            <a:spLocks/>
          </p:cNvSpPr>
          <p:nvPr/>
        </p:nvSpPr>
        <p:spPr>
          <a:xfrm>
            <a:off x="-3347" y="1004580"/>
            <a:ext cx="9141568" cy="98425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solidFill>
            <a:schemeClr val="bg1"/>
          </a:solidFill>
          <a:ln w="9525" cap="rnd">
            <a:solidFill>
              <a:srgbClr val="0070C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venir Book" panose="02000503020000020003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2B3C2D0-6655-0425-9C29-97B416E1C660}"/>
              </a:ext>
            </a:extLst>
          </p:cNvPr>
          <p:cNvSpPr txBox="1"/>
          <p:nvPr/>
        </p:nvSpPr>
        <p:spPr bwMode="gray">
          <a:xfrm>
            <a:off x="291843" y="1442761"/>
            <a:ext cx="1278913" cy="16927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>
              <a:spcBef>
                <a:spcPts val="2400"/>
              </a:spcBef>
              <a:spcAft>
                <a:spcPts val="0"/>
              </a:spcAft>
              <a:defRPr sz="1200" b="0" kern="0">
                <a:solidFill>
                  <a:schemeClr val="accent1"/>
                </a:solidFill>
                <a:latin typeface="Arial"/>
              </a:defRPr>
            </a:lvl1pPr>
          </a:lstStyle>
          <a:p>
            <a:pPr lvl="0">
              <a:defRPr/>
            </a:pPr>
            <a:r>
              <a:rPr lang="en-GB" sz="1100" i="1" dirty="0">
                <a:solidFill>
                  <a:srgbClr val="0070C0"/>
                </a:solidFill>
                <a:latin typeface="Avenir Book" panose="02000503020000020003" pitchFamily="2" charset="0"/>
                <a:cs typeface="Calibri" panose="020F0502020204030204" pitchFamily="34" charset="0"/>
              </a:rPr>
              <a:t>September 2023</a:t>
            </a:r>
          </a:p>
        </p:txBody>
      </p:sp>
    </p:spTree>
    <p:extLst>
      <p:ext uri="{BB962C8B-B14F-4D97-AF65-F5344CB8AC3E}">
        <p14:creationId xmlns:p14="http://schemas.microsoft.com/office/powerpoint/2010/main" val="2854075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6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70999999999999996447E+00&quot;&gt;&lt;m_msothmcolidx val=&quot;0&quot;/&gt;&lt;m_rgb r=&quot;D9&quot; g=&quot;D9&quot; b=&quot;D9&quot;/&gt;&lt;m_nBrightness val=&quot;0&quot;/&gt;&lt;/elem&gt;&lt;elem m_fUsage=&quot;1.00000000000000000000E+00&quot;&gt;&lt;m_msothmcolidx val=&quot;0&quot;/&gt;&lt;m_rgb r=&quot;75&quot; g=&quot;75&quot; b=&quot;75&quot;/&gt;&lt;m_nBrightness val=&quot;0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C001_PowerPoint_Template_Final_150831_5b">
  <a:themeElements>
    <a:clrScheme name="Custom 2">
      <a:dk1>
        <a:sysClr val="windowText" lastClr="000000"/>
      </a:dk1>
      <a:lt1>
        <a:sysClr val="window" lastClr="FFFFFF"/>
      </a:lt1>
      <a:dk2>
        <a:srgbClr val="E0301E"/>
      </a:dk2>
      <a:lt2>
        <a:srgbClr val="7C7C7B"/>
      </a:lt2>
      <a:accent1>
        <a:srgbClr val="E0301E"/>
      </a:accent1>
      <a:accent2>
        <a:srgbClr val="000000"/>
      </a:accent2>
      <a:accent3>
        <a:srgbClr val="2D2D2D"/>
      </a:accent3>
      <a:accent4>
        <a:srgbClr val="5A5A5A"/>
      </a:accent4>
      <a:accent5>
        <a:srgbClr val="878787"/>
      </a:accent5>
      <a:accent6>
        <a:srgbClr val="B4B4B4"/>
      </a:accent6>
      <a:hlink>
        <a:srgbClr val="E0301E"/>
      </a:hlink>
      <a:folHlink>
        <a:srgbClr val="800080"/>
      </a:folHlink>
    </a:clrScheme>
    <a:fontScheme name="PWC Office T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numCol="1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numCol="1" rtlCol="0">
        <a:spAutoFit/>
      </a:bodyPr>
      <a:lstStyle>
        <a:defPPr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WC Office Theme Colors">
      <a:dk1>
        <a:sysClr val="windowText" lastClr="000000"/>
      </a:dk1>
      <a:lt1>
        <a:sysClr val="window" lastClr="FFFFFF"/>
      </a:lt1>
      <a:dk2>
        <a:srgbClr val="E0301E"/>
      </a:dk2>
      <a:lt2>
        <a:srgbClr val="7C7C7B"/>
      </a:lt2>
      <a:accent1>
        <a:srgbClr val="E0301E"/>
      </a:accent1>
      <a:accent2>
        <a:srgbClr val="000000"/>
      </a:accent2>
      <a:accent3>
        <a:srgbClr val="2D2D2D"/>
      </a:accent3>
      <a:accent4>
        <a:srgbClr val="5A5A5A"/>
      </a:accent4>
      <a:accent5>
        <a:srgbClr val="878787"/>
      </a:accent5>
      <a:accent6>
        <a:srgbClr val="B4B4B4"/>
      </a:accent6>
      <a:hlink>
        <a:srgbClr val="0000FF"/>
      </a:hlink>
      <a:folHlink>
        <a:srgbClr val="800080"/>
      </a:folHlink>
    </a:clrScheme>
    <a:fontScheme name="PWC Office T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WC Office Theme Colors">
      <a:dk1>
        <a:sysClr val="windowText" lastClr="000000"/>
      </a:dk1>
      <a:lt1>
        <a:sysClr val="window" lastClr="FFFFFF"/>
      </a:lt1>
      <a:dk2>
        <a:srgbClr val="E0301E"/>
      </a:dk2>
      <a:lt2>
        <a:srgbClr val="7C7C7B"/>
      </a:lt2>
      <a:accent1>
        <a:srgbClr val="E0301E"/>
      </a:accent1>
      <a:accent2>
        <a:srgbClr val="000000"/>
      </a:accent2>
      <a:accent3>
        <a:srgbClr val="2D2D2D"/>
      </a:accent3>
      <a:accent4>
        <a:srgbClr val="5A5A5A"/>
      </a:accent4>
      <a:accent5>
        <a:srgbClr val="878787"/>
      </a:accent5>
      <a:accent6>
        <a:srgbClr val="B4B4B4"/>
      </a:accent6>
      <a:hlink>
        <a:srgbClr val="0000FF"/>
      </a:hlink>
      <a:folHlink>
        <a:srgbClr val="800080"/>
      </a:folHlink>
    </a:clrScheme>
    <a:fontScheme name="PWC Office T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ontrol xmlns="http://schemas.microsoft.com/VisualStudio/2011/storyboarding/control">
  <Id Name="22fa4af9-5bce-4303-ba56-bd8115e88ca9" Revision="1" Stencil="System.MyShapes" StencilVersion="1.0"/>
</Control>
</file>

<file path=customXml/item2.xml><?xml version="1.0" encoding="utf-8"?>
<Control xmlns="http://schemas.microsoft.com/VisualStudio/2011/storyboarding/control">
  <Id Name="22fa4af9-5bce-4303-ba56-bd8115e88ca9" Revision="1" Stencil="System.MyShapes" StencilVersion="1.0"/>
</Control>
</file>

<file path=customXml/item3.xml><?xml version="1.0" encoding="utf-8"?>
<Control xmlns="http://schemas.microsoft.com/VisualStudio/2011/storyboarding/control">
  <Id Name="22fa4af9-5bce-4303-ba56-bd8115e88ca9" Revision="1" Stencil="System.MyShapes" StencilVersion="1.0"/>
</Control>
</file>

<file path=customXml/itemProps1.xml><?xml version="1.0" encoding="utf-8"?>
<ds:datastoreItem xmlns:ds="http://schemas.openxmlformats.org/officeDocument/2006/customXml" ds:itemID="{E912FBFD-B62C-1746-8054-34AD41F6504F}">
  <ds:schemaRefs>
    <ds:schemaRef ds:uri="http://schemas.microsoft.com/VisualStudio/2011/storyboarding/control"/>
  </ds:schemaRefs>
</ds:datastoreItem>
</file>

<file path=customXml/itemProps2.xml><?xml version="1.0" encoding="utf-8"?>
<ds:datastoreItem xmlns:ds="http://schemas.openxmlformats.org/officeDocument/2006/customXml" ds:itemID="{42C4B355-0B3A-DA40-BD00-2E0DD5ED83A9}">
  <ds:schemaRefs>
    <ds:schemaRef ds:uri="http://schemas.microsoft.com/VisualStudio/2011/storyboarding/control"/>
  </ds:schemaRefs>
</ds:datastoreItem>
</file>

<file path=customXml/itemProps3.xml><?xml version="1.0" encoding="utf-8"?>
<ds:datastoreItem xmlns:ds="http://schemas.openxmlformats.org/officeDocument/2006/customXml" ds:itemID="{11220786-5ABD-424A-8DFF-6771E5222DBF}">
  <ds:schemaRefs>
    <ds:schemaRef ds:uri="http://schemas.microsoft.com/VisualStudio/2011/storyboarding/contro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WC001_PowerPoint_Template_Final_150831_5b</Template>
  <TotalTime>0</TotalTime>
  <Words>157</Words>
  <Application>Microsoft Macintosh PowerPoint</Application>
  <PresentationFormat>On-screen Show (16:9)</PresentationFormat>
  <Paragraphs>1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venir Book</vt:lpstr>
      <vt:lpstr>Calibri</vt:lpstr>
      <vt:lpstr>Wingdings</vt:lpstr>
      <vt:lpstr>PWC001_PowerPoint_Template_Final_150831_5b</vt:lpstr>
      <vt:lpstr>think-cell Slide</vt:lpstr>
      <vt:lpstr>ARL – Roadmap for stock trad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rtnership Opportunities</dc:title>
  <dc:creator/>
  <cp:lastModifiedBy/>
  <cp:revision>5</cp:revision>
  <cp:lastPrinted>2019-08-04T11:49:30Z</cp:lastPrinted>
  <dcterms:created xsi:type="dcterms:W3CDTF">2018-01-08T08:37:04Z</dcterms:created>
  <dcterms:modified xsi:type="dcterms:W3CDTF">2023-07-25T15:33:19Z</dcterms:modified>
</cp:coreProperties>
</file>